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29"/>
  </p:notesMasterIdLst>
  <p:sldIdLst>
    <p:sldId id="258" r:id="rId5"/>
    <p:sldId id="655" r:id="rId6"/>
    <p:sldId id="657" r:id="rId7"/>
    <p:sldId id="709" r:id="rId8"/>
    <p:sldId id="613" r:id="rId9"/>
    <p:sldId id="616" r:id="rId10"/>
    <p:sldId id="592" r:id="rId11"/>
    <p:sldId id="708" r:id="rId12"/>
    <p:sldId id="707" r:id="rId13"/>
    <p:sldId id="600" r:id="rId14"/>
    <p:sldId id="717" r:id="rId15"/>
    <p:sldId id="718" r:id="rId16"/>
    <p:sldId id="720" r:id="rId17"/>
    <p:sldId id="721" r:id="rId18"/>
    <p:sldId id="602" r:id="rId19"/>
    <p:sldId id="716" r:id="rId20"/>
    <p:sldId id="605" r:id="rId21"/>
    <p:sldId id="715" r:id="rId22"/>
    <p:sldId id="706" r:id="rId23"/>
    <p:sldId id="712" r:id="rId24"/>
    <p:sldId id="713" r:id="rId25"/>
    <p:sldId id="714" r:id="rId26"/>
    <p:sldId id="710" r:id="rId27"/>
    <p:sldId id="610" r:id="rId28"/>
  </p:sldIdLst>
  <p:sldSz cx="12192000" cy="6858000"/>
  <p:notesSz cx="6858000" cy="9144000"/>
  <p:custDataLst>
    <p:tags r:id="rId30"/>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9C040"/>
    <a:srgbClr val="A2CD69"/>
    <a:srgbClr val="FFFFFF"/>
    <a:srgbClr val="B74919"/>
    <a:srgbClr val="002060"/>
    <a:srgbClr val="5B9BD5"/>
    <a:srgbClr val="26859D"/>
    <a:srgbClr val="42AFB6"/>
    <a:srgbClr val="2E6CA4"/>
    <a:srgbClr val="6E8AB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59B100A-A44B-4D05-9B51-FB197E2F747A}" v="5" dt="2020-03-11T20:10:03.826"/>
    <p1510:client id="{1D445AAF-636E-413A-811B-CB6EAB651D64}" v="520" dt="2020-03-11T19:16:29.855"/>
    <p1510:client id="{B2A3330E-95B9-4AD1-B54B-8ED847DFDE0F}" v="2283" dt="2020-03-11T19:17:24.560"/>
    <p1510:client id="{C60A4992-8F66-4C9B-8329-6D165390F93B}" v="6734" dt="2020-03-11T18:35:04.86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1" d="100"/>
          <a:sy n="61" d="100"/>
        </p:scale>
        <p:origin x="852" y="1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tags" Target="tags/tag1.xml"/><Relationship Id="rId35" Type="http://schemas.microsoft.com/office/2016/11/relationships/changesInfo" Target="changesInfos/changesInfo1.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aj, Rahul" userId="a261c7a4-6c08-4353-a267-7c4a6ced7dfc" providerId="ADAL" clId="{1D445AAF-636E-413A-811B-CB6EAB651D64}"/>
    <pc:docChg chg="undo redo custSel addSld delSld modSld sldOrd modMainMaster">
      <pc:chgData name="Raj, Rahul" userId="a261c7a4-6c08-4353-a267-7c4a6ced7dfc" providerId="ADAL" clId="{1D445AAF-636E-413A-811B-CB6EAB651D64}" dt="2020-03-11T19:16:29.855" v="479" actId="403"/>
      <pc:docMkLst>
        <pc:docMk/>
      </pc:docMkLst>
      <pc:sldChg chg="addSp delSp modSp">
        <pc:chgData name="Raj, Rahul" userId="a261c7a4-6c08-4353-a267-7c4a6ced7dfc" providerId="ADAL" clId="{1D445AAF-636E-413A-811B-CB6EAB651D64}" dt="2020-03-11T18:05:38.143" v="315" actId="1076"/>
        <pc:sldMkLst>
          <pc:docMk/>
          <pc:sldMk cId="3331458276" sldId="258"/>
        </pc:sldMkLst>
        <pc:spChg chg="add del mod">
          <ac:chgData name="Raj, Rahul" userId="a261c7a4-6c08-4353-a267-7c4a6ced7dfc" providerId="ADAL" clId="{1D445AAF-636E-413A-811B-CB6EAB651D64}" dt="2020-03-11T18:00:29.512" v="254" actId="478"/>
          <ac:spMkLst>
            <pc:docMk/>
            <pc:sldMk cId="3331458276" sldId="258"/>
            <ac:spMk id="2" creationId="{0EC6F9C4-618B-481E-AB68-38098DD56D0D}"/>
          </ac:spMkLst>
        </pc:spChg>
        <pc:spChg chg="mod">
          <ac:chgData name="Raj, Rahul" userId="a261c7a4-6c08-4353-a267-7c4a6ced7dfc" providerId="ADAL" clId="{1D445AAF-636E-413A-811B-CB6EAB651D64}" dt="2020-03-11T18:02:09.193" v="285" actId="1076"/>
          <ac:spMkLst>
            <pc:docMk/>
            <pc:sldMk cId="3331458276" sldId="258"/>
            <ac:spMk id="11" creationId="{CB9D84EF-607D-4E1A-9EF4-1D9EA47BD6A6}"/>
          </ac:spMkLst>
        </pc:spChg>
        <pc:grpChg chg="add mod">
          <ac:chgData name="Raj, Rahul" userId="a261c7a4-6c08-4353-a267-7c4a6ced7dfc" providerId="ADAL" clId="{1D445AAF-636E-413A-811B-CB6EAB651D64}" dt="2020-03-11T18:05:38.143" v="315" actId="1076"/>
          <ac:grpSpMkLst>
            <pc:docMk/>
            <pc:sldMk cId="3331458276" sldId="258"/>
            <ac:grpSpMk id="12" creationId="{151B713C-774C-412F-9804-6385686C93C1}"/>
          </ac:grpSpMkLst>
        </pc:grpChg>
        <pc:picChg chg="add mod ord">
          <ac:chgData name="Raj, Rahul" userId="a261c7a4-6c08-4353-a267-7c4a6ced7dfc" providerId="ADAL" clId="{1D445AAF-636E-413A-811B-CB6EAB651D64}" dt="2020-03-11T18:05:30.505" v="314" actId="164"/>
          <ac:picMkLst>
            <pc:docMk/>
            <pc:sldMk cId="3331458276" sldId="258"/>
            <ac:picMk id="3" creationId="{59E41A42-086D-4815-8C71-84DA2145BCC2}"/>
          </ac:picMkLst>
        </pc:picChg>
        <pc:picChg chg="add del mod">
          <ac:chgData name="Raj, Rahul" userId="a261c7a4-6c08-4353-a267-7c4a6ced7dfc" providerId="ADAL" clId="{1D445AAF-636E-413A-811B-CB6EAB651D64}" dt="2020-03-11T18:04:49.854" v="299" actId="478"/>
          <ac:picMkLst>
            <pc:docMk/>
            <pc:sldMk cId="3331458276" sldId="258"/>
            <ac:picMk id="4" creationId="{229E505E-BB21-4683-A1F4-B2F65841123D}"/>
          </ac:picMkLst>
        </pc:picChg>
        <pc:picChg chg="add mod">
          <ac:chgData name="Raj, Rahul" userId="a261c7a4-6c08-4353-a267-7c4a6ced7dfc" providerId="ADAL" clId="{1D445AAF-636E-413A-811B-CB6EAB651D64}" dt="2020-03-11T18:05:30.505" v="314" actId="164"/>
          <ac:picMkLst>
            <pc:docMk/>
            <pc:sldMk cId="3331458276" sldId="258"/>
            <ac:picMk id="7" creationId="{E3099D85-B951-4C94-BE51-39D948FCD88A}"/>
          </ac:picMkLst>
        </pc:picChg>
        <pc:picChg chg="del">
          <ac:chgData name="Raj, Rahul" userId="a261c7a4-6c08-4353-a267-7c4a6ced7dfc" providerId="ADAL" clId="{1D445AAF-636E-413A-811B-CB6EAB651D64}" dt="2020-03-11T17:19:47.416" v="79" actId="478"/>
          <ac:picMkLst>
            <pc:docMk/>
            <pc:sldMk cId="3331458276" sldId="258"/>
            <ac:picMk id="14" creationId="{9C3DA42E-7B8A-4C3D-A619-E3950664E655}"/>
          </ac:picMkLst>
        </pc:picChg>
      </pc:sldChg>
      <pc:sldChg chg="del">
        <pc:chgData name="Raj, Rahul" userId="a261c7a4-6c08-4353-a267-7c4a6ced7dfc" providerId="ADAL" clId="{1D445AAF-636E-413A-811B-CB6EAB651D64}" dt="2020-03-11T16:54:58.767" v="18" actId="47"/>
        <pc:sldMkLst>
          <pc:docMk/>
          <pc:sldMk cId="3098283039" sldId="295"/>
        </pc:sldMkLst>
      </pc:sldChg>
      <pc:sldChg chg="del">
        <pc:chgData name="Raj, Rahul" userId="a261c7a4-6c08-4353-a267-7c4a6ced7dfc" providerId="ADAL" clId="{1D445AAF-636E-413A-811B-CB6EAB651D64}" dt="2020-03-11T17:17:31.554" v="65" actId="47"/>
        <pc:sldMkLst>
          <pc:docMk/>
          <pc:sldMk cId="2915850194" sldId="296"/>
        </pc:sldMkLst>
      </pc:sldChg>
      <pc:sldChg chg="del">
        <pc:chgData name="Raj, Rahul" userId="a261c7a4-6c08-4353-a267-7c4a6ced7dfc" providerId="ADAL" clId="{1D445AAF-636E-413A-811B-CB6EAB651D64}" dt="2020-03-11T16:53:00.888" v="4" actId="47"/>
        <pc:sldMkLst>
          <pc:docMk/>
          <pc:sldMk cId="1840500401" sldId="302"/>
        </pc:sldMkLst>
      </pc:sldChg>
      <pc:sldChg chg="del">
        <pc:chgData name="Raj, Rahul" userId="a261c7a4-6c08-4353-a267-7c4a6ced7dfc" providerId="ADAL" clId="{1D445AAF-636E-413A-811B-CB6EAB651D64}" dt="2020-03-11T16:52:58.726" v="3" actId="47"/>
        <pc:sldMkLst>
          <pc:docMk/>
          <pc:sldMk cId="1363819529" sldId="589"/>
        </pc:sldMkLst>
      </pc:sldChg>
      <pc:sldChg chg="del">
        <pc:chgData name="Raj, Rahul" userId="a261c7a4-6c08-4353-a267-7c4a6ced7dfc" providerId="ADAL" clId="{1D445AAF-636E-413A-811B-CB6EAB651D64}" dt="2020-03-11T16:54:15.840" v="14" actId="47"/>
        <pc:sldMkLst>
          <pc:docMk/>
          <pc:sldMk cId="3947135034" sldId="591"/>
        </pc:sldMkLst>
      </pc:sldChg>
      <pc:sldChg chg="modSp">
        <pc:chgData name="Raj, Rahul" userId="a261c7a4-6c08-4353-a267-7c4a6ced7dfc" providerId="ADAL" clId="{1D445AAF-636E-413A-811B-CB6EAB651D64}" dt="2020-03-11T17:58:18.383" v="221" actId="1076"/>
        <pc:sldMkLst>
          <pc:docMk/>
          <pc:sldMk cId="383173770" sldId="592"/>
        </pc:sldMkLst>
        <pc:spChg chg="mod">
          <ac:chgData name="Raj, Rahul" userId="a261c7a4-6c08-4353-a267-7c4a6ced7dfc" providerId="ADAL" clId="{1D445AAF-636E-413A-811B-CB6EAB651D64}" dt="2020-03-11T17:58:18.383" v="221" actId="1076"/>
          <ac:spMkLst>
            <pc:docMk/>
            <pc:sldMk cId="383173770" sldId="592"/>
            <ac:spMk id="23" creationId="{6B45EF6D-12B8-4AA4-8186-6387A540AE6B}"/>
          </ac:spMkLst>
        </pc:spChg>
      </pc:sldChg>
      <pc:sldChg chg="modSp add del">
        <pc:chgData name="Raj, Rahul" userId="a261c7a4-6c08-4353-a267-7c4a6ced7dfc" providerId="ADAL" clId="{1D445AAF-636E-413A-811B-CB6EAB651D64}" dt="2020-03-11T18:35:28.890" v="380" actId="20577"/>
        <pc:sldMkLst>
          <pc:docMk/>
          <pc:sldMk cId="2899787496" sldId="600"/>
        </pc:sldMkLst>
        <pc:spChg chg="mod">
          <ac:chgData name="Raj, Rahul" userId="a261c7a4-6c08-4353-a267-7c4a6ced7dfc" providerId="ADAL" clId="{1D445AAF-636E-413A-811B-CB6EAB651D64}" dt="2020-03-11T18:35:28.890" v="380" actId="20577"/>
          <ac:spMkLst>
            <pc:docMk/>
            <pc:sldMk cId="2899787496" sldId="600"/>
            <ac:spMk id="6" creationId="{33E34035-C00A-4988-93B1-1F2B9DB94F89}"/>
          </ac:spMkLst>
        </pc:spChg>
      </pc:sldChg>
      <pc:sldChg chg="modTransition">
        <pc:chgData name="Raj, Rahul" userId="a261c7a4-6c08-4353-a267-7c4a6ced7dfc" providerId="ADAL" clId="{1D445AAF-636E-413A-811B-CB6EAB651D64}" dt="2020-03-11T17:00:11.902" v="55"/>
        <pc:sldMkLst>
          <pc:docMk/>
          <pc:sldMk cId="823282190" sldId="602"/>
        </pc:sldMkLst>
      </pc:sldChg>
      <pc:sldChg chg="addSp ord">
        <pc:chgData name="Raj, Rahul" userId="a261c7a4-6c08-4353-a267-7c4a6ced7dfc" providerId="ADAL" clId="{1D445AAF-636E-413A-811B-CB6EAB651D64}" dt="2020-03-11T18:06:03.659" v="317"/>
        <pc:sldMkLst>
          <pc:docMk/>
          <pc:sldMk cId="3039064442" sldId="604"/>
        </pc:sldMkLst>
        <pc:grpChg chg="add">
          <ac:chgData name="Raj, Rahul" userId="a261c7a4-6c08-4353-a267-7c4a6ced7dfc" providerId="ADAL" clId="{1D445AAF-636E-413A-811B-CB6EAB651D64}" dt="2020-03-11T18:06:03.659" v="317"/>
          <ac:grpSpMkLst>
            <pc:docMk/>
            <pc:sldMk cId="3039064442" sldId="604"/>
            <ac:grpSpMk id="6" creationId="{5E30FEF6-5D45-45F5-987F-6B9AFF5208B1}"/>
          </ac:grpSpMkLst>
        </pc:grpChg>
      </pc:sldChg>
      <pc:sldChg chg="delSp modSp delAnim">
        <pc:chgData name="Raj, Rahul" userId="a261c7a4-6c08-4353-a267-7c4a6ced7dfc" providerId="ADAL" clId="{1D445AAF-636E-413A-811B-CB6EAB651D64}" dt="2020-03-11T19:16:29.855" v="479" actId="403"/>
        <pc:sldMkLst>
          <pc:docMk/>
          <pc:sldMk cId="1471606470" sldId="605"/>
        </pc:sldMkLst>
        <pc:spChg chg="mod">
          <ac:chgData name="Raj, Rahul" userId="a261c7a4-6c08-4353-a267-7c4a6ced7dfc" providerId="ADAL" clId="{1D445AAF-636E-413A-811B-CB6EAB651D64}" dt="2020-03-11T19:16:13.270" v="463" actId="1076"/>
          <ac:spMkLst>
            <pc:docMk/>
            <pc:sldMk cId="1471606470" sldId="605"/>
            <ac:spMk id="2" creationId="{200EE5D0-7D13-4375-BFEC-4296DC3D4056}"/>
          </ac:spMkLst>
        </pc:spChg>
        <pc:spChg chg="mod">
          <ac:chgData name="Raj, Rahul" userId="a261c7a4-6c08-4353-a267-7c4a6ced7dfc" providerId="ADAL" clId="{1D445AAF-636E-413A-811B-CB6EAB651D64}" dt="2020-03-11T19:16:20.430" v="468" actId="403"/>
          <ac:spMkLst>
            <pc:docMk/>
            <pc:sldMk cId="1471606470" sldId="605"/>
            <ac:spMk id="31" creationId="{62CEEEFD-1744-4EF2-B707-B9DA39D14F6B}"/>
          </ac:spMkLst>
        </pc:spChg>
        <pc:spChg chg="mod">
          <ac:chgData name="Raj, Rahul" userId="a261c7a4-6c08-4353-a267-7c4a6ced7dfc" providerId="ADAL" clId="{1D445AAF-636E-413A-811B-CB6EAB651D64}" dt="2020-03-11T19:16:13.270" v="463" actId="1076"/>
          <ac:spMkLst>
            <pc:docMk/>
            <pc:sldMk cId="1471606470" sldId="605"/>
            <ac:spMk id="33" creationId="{89308BA6-FE55-4897-883D-BA14FF8181D2}"/>
          </ac:spMkLst>
        </pc:spChg>
        <pc:spChg chg="mod">
          <ac:chgData name="Raj, Rahul" userId="a261c7a4-6c08-4353-a267-7c4a6ced7dfc" providerId="ADAL" clId="{1D445AAF-636E-413A-811B-CB6EAB651D64}" dt="2020-03-11T19:16:29.855" v="479" actId="403"/>
          <ac:spMkLst>
            <pc:docMk/>
            <pc:sldMk cId="1471606470" sldId="605"/>
            <ac:spMk id="34" creationId="{C8A954C6-33A1-4E0E-99D9-D9564A0239A7}"/>
          </ac:spMkLst>
        </pc:spChg>
        <pc:spChg chg="del">
          <ac:chgData name="Raj, Rahul" userId="a261c7a4-6c08-4353-a267-7c4a6ced7dfc" providerId="ADAL" clId="{1D445AAF-636E-413A-811B-CB6EAB651D64}" dt="2020-03-11T19:14:26.162" v="400" actId="478"/>
          <ac:spMkLst>
            <pc:docMk/>
            <pc:sldMk cId="1471606470" sldId="605"/>
            <ac:spMk id="35" creationId="{0D793109-7955-4084-BD46-AA3058D5040B}"/>
          </ac:spMkLst>
        </pc:spChg>
        <pc:spChg chg="del">
          <ac:chgData name="Raj, Rahul" userId="a261c7a4-6c08-4353-a267-7c4a6ced7dfc" providerId="ADAL" clId="{1D445AAF-636E-413A-811B-CB6EAB651D64}" dt="2020-03-11T19:14:26.162" v="400" actId="478"/>
          <ac:spMkLst>
            <pc:docMk/>
            <pc:sldMk cId="1471606470" sldId="605"/>
            <ac:spMk id="36" creationId="{4936BACE-50ED-42C3-820A-5412997836C0}"/>
          </ac:spMkLst>
        </pc:spChg>
        <pc:spChg chg="del">
          <ac:chgData name="Raj, Rahul" userId="a261c7a4-6c08-4353-a267-7c4a6ced7dfc" providerId="ADAL" clId="{1D445AAF-636E-413A-811B-CB6EAB651D64}" dt="2020-03-11T19:14:24.196" v="399" actId="478"/>
          <ac:spMkLst>
            <pc:docMk/>
            <pc:sldMk cId="1471606470" sldId="605"/>
            <ac:spMk id="37" creationId="{14C6703A-CFD3-4DBF-992E-2FCE729B5FD0}"/>
          </ac:spMkLst>
        </pc:spChg>
        <pc:spChg chg="del">
          <ac:chgData name="Raj, Rahul" userId="a261c7a4-6c08-4353-a267-7c4a6ced7dfc" providerId="ADAL" clId="{1D445AAF-636E-413A-811B-CB6EAB651D64}" dt="2020-03-11T19:14:24.196" v="399" actId="478"/>
          <ac:spMkLst>
            <pc:docMk/>
            <pc:sldMk cId="1471606470" sldId="605"/>
            <ac:spMk id="38" creationId="{74D92F1F-61E4-44E0-8EA8-F166FEB772F0}"/>
          </ac:spMkLst>
        </pc:spChg>
        <pc:spChg chg="del">
          <ac:chgData name="Raj, Rahul" userId="a261c7a4-6c08-4353-a267-7c4a6ced7dfc" providerId="ADAL" clId="{1D445AAF-636E-413A-811B-CB6EAB651D64}" dt="2020-03-11T19:14:24.196" v="399" actId="478"/>
          <ac:spMkLst>
            <pc:docMk/>
            <pc:sldMk cId="1471606470" sldId="605"/>
            <ac:spMk id="39" creationId="{6AF2F8BC-7FDA-49D2-9DBA-8A896631838A}"/>
          </ac:spMkLst>
        </pc:spChg>
        <pc:spChg chg="del">
          <ac:chgData name="Raj, Rahul" userId="a261c7a4-6c08-4353-a267-7c4a6ced7dfc" providerId="ADAL" clId="{1D445AAF-636E-413A-811B-CB6EAB651D64}" dt="2020-03-11T19:14:24.196" v="399" actId="478"/>
          <ac:spMkLst>
            <pc:docMk/>
            <pc:sldMk cId="1471606470" sldId="605"/>
            <ac:spMk id="40" creationId="{F5B7378C-EAFC-4974-AE09-65E4B12FB869}"/>
          </ac:spMkLst>
        </pc:spChg>
      </pc:sldChg>
      <pc:sldChg chg="del">
        <pc:chgData name="Raj, Rahul" userId="a261c7a4-6c08-4353-a267-7c4a6ced7dfc" providerId="ADAL" clId="{1D445AAF-636E-413A-811B-CB6EAB651D64}" dt="2020-03-11T16:54:29.179" v="16" actId="47"/>
        <pc:sldMkLst>
          <pc:docMk/>
          <pc:sldMk cId="3369012596" sldId="606"/>
        </pc:sldMkLst>
      </pc:sldChg>
      <pc:sldChg chg="del">
        <pc:chgData name="Raj, Rahul" userId="a261c7a4-6c08-4353-a267-7c4a6ced7dfc" providerId="ADAL" clId="{1D445AAF-636E-413A-811B-CB6EAB651D64}" dt="2020-03-11T17:17:53.830" v="75" actId="47"/>
        <pc:sldMkLst>
          <pc:docMk/>
          <pc:sldMk cId="1914667131" sldId="607"/>
        </pc:sldMkLst>
      </pc:sldChg>
      <pc:sldChg chg="del">
        <pc:chgData name="Raj, Rahul" userId="a261c7a4-6c08-4353-a267-7c4a6ced7dfc" providerId="ADAL" clId="{1D445AAF-636E-413A-811B-CB6EAB651D64}" dt="2020-03-11T16:54:15.840" v="14" actId="47"/>
        <pc:sldMkLst>
          <pc:docMk/>
          <pc:sldMk cId="1189984371" sldId="608"/>
        </pc:sldMkLst>
      </pc:sldChg>
      <pc:sldChg chg="delSp modSp add modAnim">
        <pc:chgData name="Raj, Rahul" userId="a261c7a4-6c08-4353-a267-7c4a6ced7dfc" providerId="ADAL" clId="{1D445AAF-636E-413A-811B-CB6EAB651D64}" dt="2020-03-11T17:51:22.718" v="81" actId="1076"/>
        <pc:sldMkLst>
          <pc:docMk/>
          <pc:sldMk cId="1941918332" sldId="613"/>
        </pc:sldMkLst>
        <pc:grpChg chg="mod">
          <ac:chgData name="Raj, Rahul" userId="a261c7a4-6c08-4353-a267-7c4a6ced7dfc" providerId="ADAL" clId="{1D445AAF-636E-413A-811B-CB6EAB651D64}" dt="2020-03-11T17:51:22.718" v="81" actId="1076"/>
          <ac:grpSpMkLst>
            <pc:docMk/>
            <pc:sldMk cId="1941918332" sldId="613"/>
            <ac:grpSpMk id="6" creationId="{3F7723DE-B25B-4CAD-9415-773F5DA1A0C6}"/>
          </ac:grpSpMkLst>
        </pc:grpChg>
        <pc:grpChg chg="mod">
          <ac:chgData name="Raj, Rahul" userId="a261c7a4-6c08-4353-a267-7c4a6ced7dfc" providerId="ADAL" clId="{1D445AAF-636E-413A-811B-CB6EAB651D64}" dt="2020-03-11T17:51:22.718" v="81" actId="1076"/>
          <ac:grpSpMkLst>
            <pc:docMk/>
            <pc:sldMk cId="1941918332" sldId="613"/>
            <ac:grpSpMk id="26" creationId="{537BB773-3BC7-4216-9A86-81AE37A602ED}"/>
          </ac:grpSpMkLst>
        </pc:grpChg>
        <pc:grpChg chg="mod">
          <ac:chgData name="Raj, Rahul" userId="a261c7a4-6c08-4353-a267-7c4a6ced7dfc" providerId="ADAL" clId="{1D445AAF-636E-413A-811B-CB6EAB651D64}" dt="2020-03-11T17:51:22.718" v="81" actId="1076"/>
          <ac:grpSpMkLst>
            <pc:docMk/>
            <pc:sldMk cId="1941918332" sldId="613"/>
            <ac:grpSpMk id="27" creationId="{FF6DBEC1-D4AE-46A3-BF88-74DFDEE6B246}"/>
          </ac:grpSpMkLst>
        </pc:grpChg>
        <pc:picChg chg="mod">
          <ac:chgData name="Raj, Rahul" userId="a261c7a4-6c08-4353-a267-7c4a6ced7dfc" providerId="ADAL" clId="{1D445AAF-636E-413A-811B-CB6EAB651D64}" dt="2020-03-11T17:51:22.718" v="81" actId="1076"/>
          <ac:picMkLst>
            <pc:docMk/>
            <pc:sldMk cId="1941918332" sldId="613"/>
            <ac:picMk id="3" creationId="{78BEC732-D9F3-43EF-8FAE-796786D56794}"/>
          </ac:picMkLst>
        </pc:picChg>
        <pc:picChg chg="del">
          <ac:chgData name="Raj, Rahul" userId="a261c7a4-6c08-4353-a267-7c4a6ced7dfc" providerId="ADAL" clId="{1D445AAF-636E-413A-811B-CB6EAB651D64}" dt="2020-03-11T17:19:29.440" v="78" actId="478"/>
          <ac:picMkLst>
            <pc:docMk/>
            <pc:sldMk cId="1941918332" sldId="613"/>
            <ac:picMk id="9" creationId="{2B058395-B2FB-47E3-BA14-8793B7FFA287}"/>
          </ac:picMkLst>
        </pc:picChg>
      </pc:sldChg>
      <pc:sldChg chg="add del">
        <pc:chgData name="Raj, Rahul" userId="a261c7a4-6c08-4353-a267-7c4a6ced7dfc" providerId="ADAL" clId="{1D445AAF-636E-413A-811B-CB6EAB651D64}" dt="2020-03-11T18:38:26.166" v="388"/>
        <pc:sldMkLst>
          <pc:docMk/>
          <pc:sldMk cId="1780165475" sldId="616"/>
        </pc:sldMkLst>
      </pc:sldChg>
      <pc:sldChg chg="del">
        <pc:chgData name="Raj, Rahul" userId="a261c7a4-6c08-4353-a267-7c4a6ced7dfc" providerId="ADAL" clId="{1D445AAF-636E-413A-811B-CB6EAB651D64}" dt="2020-03-11T17:17:30.569" v="64" actId="47"/>
        <pc:sldMkLst>
          <pc:docMk/>
          <pc:sldMk cId="465900234" sldId="617"/>
        </pc:sldMkLst>
      </pc:sldChg>
      <pc:sldChg chg="del">
        <pc:chgData name="Raj, Rahul" userId="a261c7a4-6c08-4353-a267-7c4a6ced7dfc" providerId="ADAL" clId="{1D445AAF-636E-413A-811B-CB6EAB651D64}" dt="2020-03-11T16:53:04.745" v="5" actId="47"/>
        <pc:sldMkLst>
          <pc:docMk/>
          <pc:sldMk cId="1059253570" sldId="638"/>
        </pc:sldMkLst>
      </pc:sldChg>
      <pc:sldChg chg="del">
        <pc:chgData name="Raj, Rahul" userId="a261c7a4-6c08-4353-a267-7c4a6ced7dfc" providerId="ADAL" clId="{1D445AAF-636E-413A-811B-CB6EAB651D64}" dt="2020-03-11T16:53:05.731" v="6" actId="47"/>
        <pc:sldMkLst>
          <pc:docMk/>
          <pc:sldMk cId="3562552771" sldId="639"/>
        </pc:sldMkLst>
      </pc:sldChg>
      <pc:sldChg chg="del">
        <pc:chgData name="Raj, Rahul" userId="a261c7a4-6c08-4353-a267-7c4a6ced7dfc" providerId="ADAL" clId="{1D445AAF-636E-413A-811B-CB6EAB651D64}" dt="2020-03-11T16:53:06.236" v="7" actId="47"/>
        <pc:sldMkLst>
          <pc:docMk/>
          <pc:sldMk cId="3688054627" sldId="640"/>
        </pc:sldMkLst>
      </pc:sldChg>
      <pc:sldChg chg="del">
        <pc:chgData name="Raj, Rahul" userId="a261c7a4-6c08-4353-a267-7c4a6ced7dfc" providerId="ADAL" clId="{1D445AAF-636E-413A-811B-CB6EAB651D64}" dt="2020-03-11T16:53:06.824" v="8" actId="47"/>
        <pc:sldMkLst>
          <pc:docMk/>
          <pc:sldMk cId="4263779854" sldId="641"/>
        </pc:sldMkLst>
      </pc:sldChg>
      <pc:sldChg chg="del">
        <pc:chgData name="Raj, Rahul" userId="a261c7a4-6c08-4353-a267-7c4a6ced7dfc" providerId="ADAL" clId="{1D445AAF-636E-413A-811B-CB6EAB651D64}" dt="2020-03-11T16:52:46.182" v="2" actId="47"/>
        <pc:sldMkLst>
          <pc:docMk/>
          <pc:sldMk cId="464338" sldId="642"/>
        </pc:sldMkLst>
      </pc:sldChg>
      <pc:sldChg chg="del">
        <pc:chgData name="Raj, Rahul" userId="a261c7a4-6c08-4353-a267-7c4a6ced7dfc" providerId="ADAL" clId="{1D445AAF-636E-413A-811B-CB6EAB651D64}" dt="2020-03-11T17:17:27.404" v="62" actId="47"/>
        <pc:sldMkLst>
          <pc:docMk/>
          <pc:sldMk cId="488941176" sldId="643"/>
        </pc:sldMkLst>
      </pc:sldChg>
      <pc:sldChg chg="del ord">
        <pc:chgData name="Raj, Rahul" userId="a261c7a4-6c08-4353-a267-7c4a6ced7dfc" providerId="ADAL" clId="{1D445AAF-636E-413A-811B-CB6EAB651D64}" dt="2020-03-11T17:58:58.300" v="224" actId="47"/>
        <pc:sldMkLst>
          <pc:docMk/>
          <pc:sldMk cId="1440169801" sldId="646"/>
        </pc:sldMkLst>
      </pc:sldChg>
      <pc:sldChg chg="del ord">
        <pc:chgData name="Raj, Rahul" userId="a261c7a4-6c08-4353-a267-7c4a6ced7dfc" providerId="ADAL" clId="{1D445AAF-636E-413A-811B-CB6EAB651D64}" dt="2020-03-11T17:58:58.300" v="224" actId="47"/>
        <pc:sldMkLst>
          <pc:docMk/>
          <pc:sldMk cId="2818500494" sldId="647"/>
        </pc:sldMkLst>
      </pc:sldChg>
      <pc:sldChg chg="del">
        <pc:chgData name="Raj, Rahul" userId="a261c7a4-6c08-4353-a267-7c4a6ced7dfc" providerId="ADAL" clId="{1D445AAF-636E-413A-811B-CB6EAB651D64}" dt="2020-03-11T16:53:07.600" v="9" actId="47"/>
        <pc:sldMkLst>
          <pc:docMk/>
          <pc:sldMk cId="893822320" sldId="648"/>
        </pc:sldMkLst>
      </pc:sldChg>
      <pc:sldChg chg="del">
        <pc:chgData name="Raj, Rahul" userId="a261c7a4-6c08-4353-a267-7c4a6ced7dfc" providerId="ADAL" clId="{1D445AAF-636E-413A-811B-CB6EAB651D64}" dt="2020-03-11T16:54:29.179" v="16" actId="47"/>
        <pc:sldMkLst>
          <pc:docMk/>
          <pc:sldMk cId="2792485320" sldId="650"/>
        </pc:sldMkLst>
      </pc:sldChg>
      <pc:sldChg chg="del">
        <pc:chgData name="Raj, Rahul" userId="a261c7a4-6c08-4353-a267-7c4a6ced7dfc" providerId="ADAL" clId="{1D445AAF-636E-413A-811B-CB6EAB651D64}" dt="2020-03-11T16:54:27.070" v="15" actId="47"/>
        <pc:sldMkLst>
          <pc:docMk/>
          <pc:sldMk cId="2750802581" sldId="653"/>
        </pc:sldMkLst>
      </pc:sldChg>
      <pc:sldChg chg="del">
        <pc:chgData name="Raj, Rahul" userId="a261c7a4-6c08-4353-a267-7c4a6ced7dfc" providerId="ADAL" clId="{1D445AAF-636E-413A-811B-CB6EAB651D64}" dt="2020-03-11T16:54:27.070" v="15" actId="47"/>
        <pc:sldMkLst>
          <pc:docMk/>
          <pc:sldMk cId="3156112813" sldId="654"/>
        </pc:sldMkLst>
      </pc:sldChg>
      <pc:sldChg chg="addSp delSp modSp add setBg">
        <pc:chgData name="Raj, Rahul" userId="a261c7a4-6c08-4353-a267-7c4a6ced7dfc" providerId="ADAL" clId="{1D445AAF-636E-413A-811B-CB6EAB651D64}" dt="2020-03-11T18:25:21.870" v="370"/>
        <pc:sldMkLst>
          <pc:docMk/>
          <pc:sldMk cId="4024293065" sldId="655"/>
        </pc:sldMkLst>
        <pc:spChg chg="mod topLvl">
          <ac:chgData name="Raj, Rahul" userId="a261c7a4-6c08-4353-a267-7c4a6ced7dfc" providerId="ADAL" clId="{1D445AAF-636E-413A-811B-CB6EAB651D64}" dt="2020-03-11T18:23:21.496" v="342" actId="164"/>
          <ac:spMkLst>
            <pc:docMk/>
            <pc:sldMk cId="4024293065" sldId="655"/>
            <ac:spMk id="9" creationId="{DC39A7A0-6C1B-49A1-94F7-A53FF216120E}"/>
          </ac:spMkLst>
        </pc:spChg>
        <pc:spChg chg="mod topLvl">
          <ac:chgData name="Raj, Rahul" userId="a261c7a4-6c08-4353-a267-7c4a6ced7dfc" providerId="ADAL" clId="{1D445AAF-636E-413A-811B-CB6EAB651D64}" dt="2020-03-11T18:23:16.939" v="341" actId="164"/>
          <ac:spMkLst>
            <pc:docMk/>
            <pc:sldMk cId="4024293065" sldId="655"/>
            <ac:spMk id="10" creationId="{F23F44BD-2AD0-49CB-A758-7D27871C6EA1}"/>
          </ac:spMkLst>
        </pc:spChg>
        <pc:spChg chg="add del">
          <ac:chgData name="Raj, Rahul" userId="a261c7a4-6c08-4353-a267-7c4a6ced7dfc" providerId="ADAL" clId="{1D445AAF-636E-413A-811B-CB6EAB651D64}" dt="2020-03-11T18:22:57.391" v="333" actId="478"/>
          <ac:spMkLst>
            <pc:docMk/>
            <pc:sldMk cId="4024293065" sldId="655"/>
            <ac:spMk id="14" creationId="{50E14D4F-EACF-4052-9EBE-F475E74A5507}"/>
          </ac:spMkLst>
        </pc:spChg>
        <pc:spChg chg="del">
          <ac:chgData name="Raj, Rahul" userId="a261c7a4-6c08-4353-a267-7c4a6ced7dfc" providerId="ADAL" clId="{1D445AAF-636E-413A-811B-CB6EAB651D64}" dt="2020-03-11T18:23:01.335" v="334" actId="478"/>
          <ac:spMkLst>
            <pc:docMk/>
            <pc:sldMk cId="4024293065" sldId="655"/>
            <ac:spMk id="15" creationId="{3DEDB73B-4A90-4865-833D-55696F13EFEB}"/>
          </ac:spMkLst>
        </pc:spChg>
        <pc:spChg chg="del">
          <ac:chgData name="Raj, Rahul" userId="a261c7a4-6c08-4353-a267-7c4a6ced7dfc" providerId="ADAL" clId="{1D445AAF-636E-413A-811B-CB6EAB651D64}" dt="2020-03-11T18:23:05.097" v="335" actId="478"/>
          <ac:spMkLst>
            <pc:docMk/>
            <pc:sldMk cId="4024293065" sldId="655"/>
            <ac:spMk id="16" creationId="{EDF8512D-B6C6-4AA8-ACD4-E5FC59F4F30F}"/>
          </ac:spMkLst>
        </pc:spChg>
        <pc:spChg chg="mod topLvl">
          <ac:chgData name="Raj, Rahul" userId="a261c7a4-6c08-4353-a267-7c4a6ced7dfc" providerId="ADAL" clId="{1D445AAF-636E-413A-811B-CB6EAB651D64}" dt="2020-03-11T18:23:26.676" v="344" actId="164"/>
          <ac:spMkLst>
            <pc:docMk/>
            <pc:sldMk cId="4024293065" sldId="655"/>
            <ac:spMk id="17" creationId="{C49F0791-195F-4F34-BA1C-F517B609B6FF}"/>
          </ac:spMkLst>
        </pc:spChg>
        <pc:spChg chg="mod">
          <ac:chgData name="Raj, Rahul" userId="a261c7a4-6c08-4353-a267-7c4a6ced7dfc" providerId="ADAL" clId="{1D445AAF-636E-413A-811B-CB6EAB651D64}" dt="2020-03-11T18:23:16.939" v="341" actId="164"/>
          <ac:spMkLst>
            <pc:docMk/>
            <pc:sldMk cId="4024293065" sldId="655"/>
            <ac:spMk id="18" creationId="{E4B6C700-EF56-4535-93A6-090DDB829A79}"/>
          </ac:spMkLst>
        </pc:spChg>
        <pc:spChg chg="mod">
          <ac:chgData name="Raj, Rahul" userId="a261c7a4-6c08-4353-a267-7c4a6ced7dfc" providerId="ADAL" clId="{1D445AAF-636E-413A-811B-CB6EAB651D64}" dt="2020-03-11T18:23:16.939" v="341" actId="164"/>
          <ac:spMkLst>
            <pc:docMk/>
            <pc:sldMk cId="4024293065" sldId="655"/>
            <ac:spMk id="20" creationId="{6385CC93-13F0-482B-BECE-A7B82F5EA8E6}"/>
          </ac:spMkLst>
        </pc:spChg>
        <pc:spChg chg="del">
          <ac:chgData name="Raj, Rahul" userId="a261c7a4-6c08-4353-a267-7c4a6ced7dfc" providerId="ADAL" clId="{1D445AAF-636E-413A-811B-CB6EAB651D64}" dt="2020-03-11T18:22:57.391" v="333" actId="478"/>
          <ac:spMkLst>
            <pc:docMk/>
            <pc:sldMk cId="4024293065" sldId="655"/>
            <ac:spMk id="74" creationId="{AAF82C61-DBD0-4C04-B45D-A8632D96413C}"/>
          </ac:spMkLst>
        </pc:spChg>
        <pc:spChg chg="mod">
          <ac:chgData name="Raj, Rahul" userId="a261c7a4-6c08-4353-a267-7c4a6ced7dfc" providerId="ADAL" clId="{1D445AAF-636E-413A-811B-CB6EAB651D64}" dt="2020-03-11T18:23:26.676" v="344" actId="164"/>
          <ac:spMkLst>
            <pc:docMk/>
            <pc:sldMk cId="4024293065" sldId="655"/>
            <ac:spMk id="81" creationId="{2BBCE0AA-FE79-4D49-8254-56DEEE1F089C}"/>
          </ac:spMkLst>
        </pc:spChg>
        <pc:spChg chg="mod">
          <ac:chgData name="Raj, Rahul" userId="a261c7a4-6c08-4353-a267-7c4a6ced7dfc" providerId="ADAL" clId="{1D445AAF-636E-413A-811B-CB6EAB651D64}" dt="2020-03-11T18:23:26.676" v="344" actId="164"/>
          <ac:spMkLst>
            <pc:docMk/>
            <pc:sldMk cId="4024293065" sldId="655"/>
            <ac:spMk id="82" creationId="{1CB940F8-F7E6-4A50-BBC0-19E324452334}"/>
          </ac:spMkLst>
        </pc:spChg>
        <pc:spChg chg="mod">
          <ac:chgData name="Raj, Rahul" userId="a261c7a4-6c08-4353-a267-7c4a6ced7dfc" providerId="ADAL" clId="{1D445AAF-636E-413A-811B-CB6EAB651D64}" dt="2020-03-11T18:23:21.496" v="342" actId="164"/>
          <ac:spMkLst>
            <pc:docMk/>
            <pc:sldMk cId="4024293065" sldId="655"/>
            <ac:spMk id="83" creationId="{67DDE511-F302-4A09-9D28-47632514695C}"/>
          </ac:spMkLst>
        </pc:spChg>
        <pc:spChg chg="mod">
          <ac:chgData name="Raj, Rahul" userId="a261c7a4-6c08-4353-a267-7c4a6ced7dfc" providerId="ADAL" clId="{1D445AAF-636E-413A-811B-CB6EAB651D64}" dt="2020-03-11T18:23:21.496" v="342" actId="164"/>
          <ac:spMkLst>
            <pc:docMk/>
            <pc:sldMk cId="4024293065" sldId="655"/>
            <ac:spMk id="84" creationId="{85AD8A3A-AD06-4535-BA49-A61A73C3D43F}"/>
          </ac:spMkLst>
        </pc:spChg>
        <pc:grpChg chg="add del">
          <ac:chgData name="Raj, Rahul" userId="a261c7a4-6c08-4353-a267-7c4a6ced7dfc" providerId="ADAL" clId="{1D445AAF-636E-413A-811B-CB6EAB651D64}" dt="2020-03-11T18:23:08.020" v="336" actId="165"/>
          <ac:grpSpMkLst>
            <pc:docMk/>
            <pc:sldMk cId="4024293065" sldId="655"/>
            <ac:grpSpMk id="2" creationId="{23003F30-0D15-4872-80DD-31F3D9F9E16B}"/>
          </ac:grpSpMkLst>
        </pc:grpChg>
        <pc:grpChg chg="add mod">
          <ac:chgData name="Raj, Rahul" userId="a261c7a4-6c08-4353-a267-7c4a6ced7dfc" providerId="ADAL" clId="{1D445AAF-636E-413A-811B-CB6EAB651D64}" dt="2020-03-11T18:24:06.748" v="350" actId="1076"/>
          <ac:grpSpMkLst>
            <pc:docMk/>
            <pc:sldMk cId="4024293065" sldId="655"/>
            <ac:grpSpMk id="3" creationId="{1DE82A48-A6B9-4357-A745-2EE71B55F262}"/>
          </ac:grpSpMkLst>
        </pc:grpChg>
        <pc:grpChg chg="add mod">
          <ac:chgData name="Raj, Rahul" userId="a261c7a4-6c08-4353-a267-7c4a6ced7dfc" providerId="ADAL" clId="{1D445AAF-636E-413A-811B-CB6EAB651D64}" dt="2020-03-11T18:24:06.748" v="350" actId="1076"/>
          <ac:grpSpMkLst>
            <pc:docMk/>
            <pc:sldMk cId="4024293065" sldId="655"/>
            <ac:grpSpMk id="7" creationId="{67793883-0F37-43F2-9087-CA02D76CBAA0}"/>
          </ac:grpSpMkLst>
        </pc:grpChg>
        <pc:grpChg chg="add mod">
          <ac:chgData name="Raj, Rahul" userId="a261c7a4-6c08-4353-a267-7c4a6ced7dfc" providerId="ADAL" clId="{1D445AAF-636E-413A-811B-CB6EAB651D64}" dt="2020-03-11T18:24:06.748" v="350" actId="1076"/>
          <ac:grpSpMkLst>
            <pc:docMk/>
            <pc:sldMk cId="4024293065" sldId="655"/>
            <ac:grpSpMk id="11" creationId="{8ABE68E6-9629-488C-B73D-9F9635F7339B}"/>
          </ac:grpSpMkLst>
        </pc:grpChg>
        <pc:grpChg chg="add del">
          <ac:chgData name="Raj, Rahul" userId="a261c7a4-6c08-4353-a267-7c4a6ced7dfc" providerId="ADAL" clId="{1D445AAF-636E-413A-811B-CB6EAB651D64}" dt="2020-03-11T18:22:57.391" v="333" actId="478"/>
          <ac:grpSpMkLst>
            <pc:docMk/>
            <pc:sldMk cId="4024293065" sldId="655"/>
            <ac:grpSpMk id="21" creationId="{BC202871-392A-464C-912E-2165E3AA0BF1}"/>
          </ac:grpSpMkLst>
        </pc:grpChg>
        <pc:grpChg chg="add del mod">
          <ac:chgData name="Raj, Rahul" userId="a261c7a4-6c08-4353-a267-7c4a6ced7dfc" providerId="ADAL" clId="{1D445AAF-636E-413A-811B-CB6EAB651D64}" dt="2020-03-11T18:25:13.354" v="364"/>
          <ac:grpSpMkLst>
            <pc:docMk/>
            <pc:sldMk cId="4024293065" sldId="655"/>
            <ac:grpSpMk id="40" creationId="{9AC3E147-8AFB-4100-927D-8C3215C930D3}"/>
          </ac:grpSpMkLst>
        </pc:grpChg>
        <pc:grpChg chg="add del mod">
          <ac:chgData name="Raj, Rahul" userId="a261c7a4-6c08-4353-a267-7c4a6ced7dfc" providerId="ADAL" clId="{1D445AAF-636E-413A-811B-CB6EAB651D64}" dt="2020-03-11T18:25:21.870" v="370"/>
          <ac:grpSpMkLst>
            <pc:docMk/>
            <pc:sldMk cId="4024293065" sldId="655"/>
            <ac:grpSpMk id="44" creationId="{2DD774EB-9312-474E-B4E9-9C12A5F8C596}"/>
          </ac:grpSpMkLst>
        </pc:grpChg>
        <pc:grpChg chg="del">
          <ac:chgData name="Raj, Rahul" userId="a261c7a4-6c08-4353-a267-7c4a6ced7dfc" providerId="ADAL" clId="{1D445AAF-636E-413A-811B-CB6EAB651D64}" dt="2020-03-11T18:22:57.391" v="333" actId="478"/>
          <ac:grpSpMkLst>
            <pc:docMk/>
            <pc:sldMk cId="4024293065" sldId="655"/>
            <ac:grpSpMk id="73" creationId="{01DD7683-CA24-4E6E-98E1-1AB301E3EE54}"/>
          </ac:grpSpMkLst>
        </pc:grpChg>
      </pc:sldChg>
      <pc:sldChg chg="delSp modSp add">
        <pc:chgData name="Raj, Rahul" userId="a261c7a4-6c08-4353-a267-7c4a6ced7dfc" providerId="ADAL" clId="{1D445AAF-636E-413A-811B-CB6EAB651D64}" dt="2020-03-11T18:21:26.877" v="329" actId="20577"/>
        <pc:sldMkLst>
          <pc:docMk/>
          <pc:sldMk cId="2877792185" sldId="657"/>
        </pc:sldMkLst>
        <pc:spChg chg="mod">
          <ac:chgData name="Raj, Rahul" userId="a261c7a4-6c08-4353-a267-7c4a6ced7dfc" providerId="ADAL" clId="{1D445AAF-636E-413A-811B-CB6EAB651D64}" dt="2020-03-11T18:21:26.877" v="329" actId="20577"/>
          <ac:spMkLst>
            <pc:docMk/>
            <pc:sldMk cId="2877792185" sldId="657"/>
            <ac:spMk id="40" creationId="{A56F3C38-A481-47E1-9250-36214FCFA316}"/>
          </ac:spMkLst>
        </pc:spChg>
        <pc:picChg chg="del">
          <ac:chgData name="Raj, Rahul" userId="a261c7a4-6c08-4353-a267-7c4a6ced7dfc" providerId="ADAL" clId="{1D445AAF-636E-413A-811B-CB6EAB651D64}" dt="2020-03-11T18:21:17.768" v="319" actId="478"/>
          <ac:picMkLst>
            <pc:docMk/>
            <pc:sldMk cId="2877792185" sldId="657"/>
            <ac:picMk id="33" creationId="{968EFF15-236E-47F3-900E-9B1078E6B613}"/>
          </ac:picMkLst>
        </pc:picChg>
      </pc:sldChg>
      <pc:sldChg chg="del ord">
        <pc:chgData name="Raj, Rahul" userId="a261c7a4-6c08-4353-a267-7c4a6ced7dfc" providerId="ADAL" clId="{1D445AAF-636E-413A-811B-CB6EAB651D64}" dt="2020-03-11T17:58:26.167" v="223" actId="47"/>
        <pc:sldMkLst>
          <pc:docMk/>
          <pc:sldMk cId="1616008576" sldId="659"/>
        </pc:sldMkLst>
      </pc:sldChg>
      <pc:sldChg chg="del">
        <pc:chgData name="Raj, Rahul" userId="a261c7a4-6c08-4353-a267-7c4a6ced7dfc" providerId="ADAL" clId="{1D445AAF-636E-413A-811B-CB6EAB651D64}" dt="2020-03-11T17:17:29.664" v="63" actId="47"/>
        <pc:sldMkLst>
          <pc:docMk/>
          <pc:sldMk cId="256692945" sldId="660"/>
        </pc:sldMkLst>
      </pc:sldChg>
      <pc:sldChg chg="del">
        <pc:chgData name="Raj, Rahul" userId="a261c7a4-6c08-4353-a267-7c4a6ced7dfc" providerId="ADAL" clId="{1D445AAF-636E-413A-811B-CB6EAB651D64}" dt="2020-03-11T16:54:15.840" v="14" actId="47"/>
        <pc:sldMkLst>
          <pc:docMk/>
          <pc:sldMk cId="1116383481" sldId="661"/>
        </pc:sldMkLst>
      </pc:sldChg>
      <pc:sldChg chg="del">
        <pc:chgData name="Raj, Rahul" userId="a261c7a4-6c08-4353-a267-7c4a6ced7dfc" providerId="ADAL" clId="{1D445AAF-636E-413A-811B-CB6EAB651D64}" dt="2020-03-11T16:54:27.070" v="15" actId="47"/>
        <pc:sldMkLst>
          <pc:docMk/>
          <pc:sldMk cId="976797568" sldId="662"/>
        </pc:sldMkLst>
      </pc:sldChg>
      <pc:sldChg chg="del">
        <pc:chgData name="Raj, Rahul" userId="a261c7a4-6c08-4353-a267-7c4a6ced7dfc" providerId="ADAL" clId="{1D445AAF-636E-413A-811B-CB6EAB651D64}" dt="2020-03-11T16:54:27.070" v="15" actId="47"/>
        <pc:sldMkLst>
          <pc:docMk/>
          <pc:sldMk cId="1378283479" sldId="663"/>
        </pc:sldMkLst>
      </pc:sldChg>
      <pc:sldChg chg="del">
        <pc:chgData name="Raj, Rahul" userId="a261c7a4-6c08-4353-a267-7c4a6ced7dfc" providerId="ADAL" clId="{1D445AAF-636E-413A-811B-CB6EAB651D64}" dt="2020-03-11T16:54:15.840" v="14" actId="47"/>
        <pc:sldMkLst>
          <pc:docMk/>
          <pc:sldMk cId="1436257334" sldId="664"/>
        </pc:sldMkLst>
      </pc:sldChg>
      <pc:sldChg chg="del">
        <pc:chgData name="Raj, Rahul" userId="a261c7a4-6c08-4353-a267-7c4a6ced7dfc" providerId="ADAL" clId="{1D445AAF-636E-413A-811B-CB6EAB651D64}" dt="2020-03-11T16:54:15.840" v="14" actId="47"/>
        <pc:sldMkLst>
          <pc:docMk/>
          <pc:sldMk cId="4031874734" sldId="665"/>
        </pc:sldMkLst>
      </pc:sldChg>
      <pc:sldChg chg="del">
        <pc:chgData name="Raj, Rahul" userId="a261c7a4-6c08-4353-a267-7c4a6ced7dfc" providerId="ADAL" clId="{1D445AAF-636E-413A-811B-CB6EAB651D64}" dt="2020-03-11T16:54:15.840" v="14" actId="47"/>
        <pc:sldMkLst>
          <pc:docMk/>
          <pc:sldMk cId="1136514224" sldId="666"/>
        </pc:sldMkLst>
      </pc:sldChg>
      <pc:sldChg chg="del">
        <pc:chgData name="Raj, Rahul" userId="a261c7a4-6c08-4353-a267-7c4a6ced7dfc" providerId="ADAL" clId="{1D445AAF-636E-413A-811B-CB6EAB651D64}" dt="2020-03-11T16:54:15.840" v="14" actId="47"/>
        <pc:sldMkLst>
          <pc:docMk/>
          <pc:sldMk cId="1495724465" sldId="667"/>
        </pc:sldMkLst>
      </pc:sldChg>
      <pc:sldChg chg="del">
        <pc:chgData name="Raj, Rahul" userId="a261c7a4-6c08-4353-a267-7c4a6ced7dfc" providerId="ADAL" clId="{1D445AAF-636E-413A-811B-CB6EAB651D64}" dt="2020-03-11T16:54:15.840" v="14" actId="47"/>
        <pc:sldMkLst>
          <pc:docMk/>
          <pc:sldMk cId="1123607522" sldId="668"/>
        </pc:sldMkLst>
      </pc:sldChg>
      <pc:sldChg chg="del">
        <pc:chgData name="Raj, Rahul" userId="a261c7a4-6c08-4353-a267-7c4a6ced7dfc" providerId="ADAL" clId="{1D445AAF-636E-413A-811B-CB6EAB651D64}" dt="2020-03-11T16:54:15.840" v="14" actId="47"/>
        <pc:sldMkLst>
          <pc:docMk/>
          <pc:sldMk cId="175877560" sldId="669"/>
        </pc:sldMkLst>
      </pc:sldChg>
      <pc:sldChg chg="del">
        <pc:chgData name="Raj, Rahul" userId="a261c7a4-6c08-4353-a267-7c4a6ced7dfc" providerId="ADAL" clId="{1D445AAF-636E-413A-811B-CB6EAB651D64}" dt="2020-03-11T16:54:15.840" v="14" actId="47"/>
        <pc:sldMkLst>
          <pc:docMk/>
          <pc:sldMk cId="496445691" sldId="670"/>
        </pc:sldMkLst>
      </pc:sldChg>
      <pc:sldChg chg="del">
        <pc:chgData name="Raj, Rahul" userId="a261c7a4-6c08-4353-a267-7c4a6ced7dfc" providerId="ADAL" clId="{1D445AAF-636E-413A-811B-CB6EAB651D64}" dt="2020-03-11T16:54:15.840" v="14" actId="47"/>
        <pc:sldMkLst>
          <pc:docMk/>
          <pc:sldMk cId="2840803488" sldId="671"/>
        </pc:sldMkLst>
      </pc:sldChg>
      <pc:sldChg chg="addSp delSp modSp modAnim">
        <pc:chgData name="Raj, Rahul" userId="a261c7a4-6c08-4353-a267-7c4a6ced7dfc" providerId="ADAL" clId="{1D445AAF-636E-413A-811B-CB6EAB651D64}" dt="2020-03-11T18:35:32.169" v="381" actId="20577"/>
        <pc:sldMkLst>
          <pc:docMk/>
          <pc:sldMk cId="138471474" sldId="672"/>
        </pc:sldMkLst>
        <pc:spChg chg="del">
          <ac:chgData name="Raj, Rahul" userId="a261c7a4-6c08-4353-a267-7c4a6ced7dfc" providerId="ADAL" clId="{1D445AAF-636E-413A-811B-CB6EAB651D64}" dt="2020-03-11T16:57:01.148" v="21" actId="478"/>
          <ac:spMkLst>
            <pc:docMk/>
            <pc:sldMk cId="138471474" sldId="672"/>
            <ac:spMk id="4" creationId="{9CC1E34C-0532-4C10-AF18-4A598D24BE4C}"/>
          </ac:spMkLst>
        </pc:spChg>
        <pc:spChg chg="mod">
          <ac:chgData name="Raj, Rahul" userId="a261c7a4-6c08-4353-a267-7c4a6ced7dfc" providerId="ADAL" clId="{1D445AAF-636E-413A-811B-CB6EAB651D64}" dt="2020-03-11T18:35:32.169" v="381" actId="20577"/>
          <ac:spMkLst>
            <pc:docMk/>
            <pc:sldMk cId="138471474" sldId="672"/>
            <ac:spMk id="6" creationId="{33E34035-C00A-4988-93B1-1F2B9DB94F89}"/>
          </ac:spMkLst>
        </pc:spChg>
        <pc:spChg chg="add">
          <ac:chgData name="Raj, Rahul" userId="a261c7a4-6c08-4353-a267-7c4a6ced7dfc" providerId="ADAL" clId="{1D445AAF-636E-413A-811B-CB6EAB651D64}" dt="2020-03-11T16:57:01.467" v="22"/>
          <ac:spMkLst>
            <pc:docMk/>
            <pc:sldMk cId="138471474" sldId="672"/>
            <ac:spMk id="11" creationId="{9C454995-C216-41AE-9F62-91A5453D98F7}"/>
          </ac:spMkLst>
        </pc:spChg>
      </pc:sldChg>
      <pc:sldChg chg="addSp delSp modSp modAnim">
        <pc:chgData name="Raj, Rahul" userId="a261c7a4-6c08-4353-a267-7c4a6ced7dfc" providerId="ADAL" clId="{1D445AAF-636E-413A-811B-CB6EAB651D64}" dt="2020-03-11T18:35:36.045" v="382" actId="20577"/>
        <pc:sldMkLst>
          <pc:docMk/>
          <pc:sldMk cId="3919357579" sldId="673"/>
        </pc:sldMkLst>
        <pc:spChg chg="del">
          <ac:chgData name="Raj, Rahul" userId="a261c7a4-6c08-4353-a267-7c4a6ced7dfc" providerId="ADAL" clId="{1D445AAF-636E-413A-811B-CB6EAB651D64}" dt="2020-03-11T16:57:04.542" v="23" actId="478"/>
          <ac:spMkLst>
            <pc:docMk/>
            <pc:sldMk cId="3919357579" sldId="673"/>
            <ac:spMk id="4" creationId="{9CC1E34C-0532-4C10-AF18-4A598D24BE4C}"/>
          </ac:spMkLst>
        </pc:spChg>
        <pc:spChg chg="mod">
          <ac:chgData name="Raj, Rahul" userId="a261c7a4-6c08-4353-a267-7c4a6ced7dfc" providerId="ADAL" clId="{1D445AAF-636E-413A-811B-CB6EAB651D64}" dt="2020-03-11T18:35:36.045" v="382" actId="20577"/>
          <ac:spMkLst>
            <pc:docMk/>
            <pc:sldMk cId="3919357579" sldId="673"/>
            <ac:spMk id="6" creationId="{33E34035-C00A-4988-93B1-1F2B9DB94F89}"/>
          </ac:spMkLst>
        </pc:spChg>
        <pc:spChg chg="add">
          <ac:chgData name="Raj, Rahul" userId="a261c7a4-6c08-4353-a267-7c4a6ced7dfc" providerId="ADAL" clId="{1D445AAF-636E-413A-811B-CB6EAB651D64}" dt="2020-03-11T16:57:04.816" v="24"/>
          <ac:spMkLst>
            <pc:docMk/>
            <pc:sldMk cId="3919357579" sldId="673"/>
            <ac:spMk id="11" creationId="{7B133979-C389-43B3-A558-29466FBCFF81}"/>
          </ac:spMkLst>
        </pc:spChg>
      </pc:sldChg>
      <pc:sldChg chg="addSp delSp modSp modAnim">
        <pc:chgData name="Raj, Rahul" userId="a261c7a4-6c08-4353-a267-7c4a6ced7dfc" providerId="ADAL" clId="{1D445AAF-636E-413A-811B-CB6EAB651D64}" dt="2020-03-11T18:35:41.044" v="383" actId="20577"/>
        <pc:sldMkLst>
          <pc:docMk/>
          <pc:sldMk cId="140440548" sldId="674"/>
        </pc:sldMkLst>
        <pc:spChg chg="del">
          <ac:chgData name="Raj, Rahul" userId="a261c7a4-6c08-4353-a267-7c4a6ced7dfc" providerId="ADAL" clId="{1D445AAF-636E-413A-811B-CB6EAB651D64}" dt="2020-03-11T16:57:08.526" v="25" actId="478"/>
          <ac:spMkLst>
            <pc:docMk/>
            <pc:sldMk cId="140440548" sldId="674"/>
            <ac:spMk id="4" creationId="{9CC1E34C-0532-4C10-AF18-4A598D24BE4C}"/>
          </ac:spMkLst>
        </pc:spChg>
        <pc:spChg chg="mod">
          <ac:chgData name="Raj, Rahul" userId="a261c7a4-6c08-4353-a267-7c4a6ced7dfc" providerId="ADAL" clId="{1D445AAF-636E-413A-811B-CB6EAB651D64}" dt="2020-03-11T18:35:41.044" v="383" actId="20577"/>
          <ac:spMkLst>
            <pc:docMk/>
            <pc:sldMk cId="140440548" sldId="674"/>
            <ac:spMk id="6" creationId="{33E34035-C00A-4988-93B1-1F2B9DB94F89}"/>
          </ac:spMkLst>
        </pc:spChg>
        <pc:spChg chg="add">
          <ac:chgData name="Raj, Rahul" userId="a261c7a4-6c08-4353-a267-7c4a6ced7dfc" providerId="ADAL" clId="{1D445AAF-636E-413A-811B-CB6EAB651D64}" dt="2020-03-11T16:57:08.865" v="26"/>
          <ac:spMkLst>
            <pc:docMk/>
            <pc:sldMk cId="140440548" sldId="674"/>
            <ac:spMk id="11" creationId="{AD1DB4CA-C788-49D2-B457-0C86EB4D9B24}"/>
          </ac:spMkLst>
        </pc:spChg>
      </pc:sldChg>
      <pc:sldChg chg="addSp delSp modSp modAnim">
        <pc:chgData name="Raj, Rahul" userId="a261c7a4-6c08-4353-a267-7c4a6ced7dfc" providerId="ADAL" clId="{1D445AAF-636E-413A-811B-CB6EAB651D64}" dt="2020-03-11T18:36:13.466" v="385" actId="20577"/>
        <pc:sldMkLst>
          <pc:docMk/>
          <pc:sldMk cId="2876342915" sldId="675"/>
        </pc:sldMkLst>
        <pc:spChg chg="del">
          <ac:chgData name="Raj, Rahul" userId="a261c7a4-6c08-4353-a267-7c4a6ced7dfc" providerId="ADAL" clId="{1D445AAF-636E-413A-811B-CB6EAB651D64}" dt="2020-03-11T16:57:12.455" v="27" actId="478"/>
          <ac:spMkLst>
            <pc:docMk/>
            <pc:sldMk cId="2876342915" sldId="675"/>
            <ac:spMk id="4" creationId="{9CC1E34C-0532-4C10-AF18-4A598D24BE4C}"/>
          </ac:spMkLst>
        </pc:spChg>
        <pc:spChg chg="mod">
          <ac:chgData name="Raj, Rahul" userId="a261c7a4-6c08-4353-a267-7c4a6ced7dfc" providerId="ADAL" clId="{1D445AAF-636E-413A-811B-CB6EAB651D64}" dt="2020-03-11T18:36:13.466" v="385" actId="20577"/>
          <ac:spMkLst>
            <pc:docMk/>
            <pc:sldMk cId="2876342915" sldId="675"/>
            <ac:spMk id="6" creationId="{33E34035-C00A-4988-93B1-1F2B9DB94F89}"/>
          </ac:spMkLst>
        </pc:spChg>
        <pc:spChg chg="add">
          <ac:chgData name="Raj, Rahul" userId="a261c7a4-6c08-4353-a267-7c4a6ced7dfc" providerId="ADAL" clId="{1D445AAF-636E-413A-811B-CB6EAB651D64}" dt="2020-03-11T16:57:12.795" v="28"/>
          <ac:spMkLst>
            <pc:docMk/>
            <pc:sldMk cId="2876342915" sldId="675"/>
            <ac:spMk id="11" creationId="{9CD68799-F0A1-43F2-A64C-F13A05A2680F}"/>
          </ac:spMkLst>
        </pc:spChg>
      </pc:sldChg>
      <pc:sldChg chg="addSp delSp modSp del modAnim">
        <pc:chgData name="Raj, Rahul" userId="a261c7a4-6c08-4353-a267-7c4a6ced7dfc" providerId="ADAL" clId="{1D445AAF-636E-413A-811B-CB6EAB651D64}" dt="2020-03-11T16:57:43.523" v="36" actId="47"/>
        <pc:sldMkLst>
          <pc:docMk/>
          <pc:sldMk cId="2939299729" sldId="676"/>
        </pc:sldMkLst>
        <pc:spChg chg="del">
          <ac:chgData name="Raj, Rahul" userId="a261c7a4-6c08-4353-a267-7c4a6ced7dfc" providerId="ADAL" clId="{1D445AAF-636E-413A-811B-CB6EAB651D64}" dt="2020-03-11T16:57:17.059" v="29" actId="478"/>
          <ac:spMkLst>
            <pc:docMk/>
            <pc:sldMk cId="2939299729" sldId="676"/>
            <ac:spMk id="4" creationId="{9CC1E34C-0532-4C10-AF18-4A598D24BE4C}"/>
          </ac:spMkLst>
        </pc:spChg>
        <pc:spChg chg="mod">
          <ac:chgData name="Raj, Rahul" userId="a261c7a4-6c08-4353-a267-7c4a6ced7dfc" providerId="ADAL" clId="{1D445AAF-636E-413A-811B-CB6EAB651D64}" dt="2020-03-11T16:57:39.360" v="35" actId="5793"/>
          <ac:spMkLst>
            <pc:docMk/>
            <pc:sldMk cId="2939299729" sldId="676"/>
            <ac:spMk id="6" creationId="{33E34035-C00A-4988-93B1-1F2B9DB94F89}"/>
          </ac:spMkLst>
        </pc:spChg>
        <pc:spChg chg="add">
          <ac:chgData name="Raj, Rahul" userId="a261c7a4-6c08-4353-a267-7c4a6ced7dfc" providerId="ADAL" clId="{1D445AAF-636E-413A-811B-CB6EAB651D64}" dt="2020-03-11T16:57:17.510" v="30"/>
          <ac:spMkLst>
            <pc:docMk/>
            <pc:sldMk cId="2939299729" sldId="676"/>
            <ac:spMk id="11" creationId="{40A6DEAB-6924-4E78-9EDB-4EC6578F7691}"/>
          </ac:spMkLst>
        </pc:spChg>
      </pc:sldChg>
      <pc:sldChg chg="del">
        <pc:chgData name="Raj, Rahul" userId="a261c7a4-6c08-4353-a267-7c4a6ced7dfc" providerId="ADAL" clId="{1D445AAF-636E-413A-811B-CB6EAB651D64}" dt="2020-03-11T16:55:06.172" v="19" actId="47"/>
        <pc:sldMkLst>
          <pc:docMk/>
          <pc:sldMk cId="2898289845" sldId="678"/>
        </pc:sldMkLst>
      </pc:sldChg>
      <pc:sldChg chg="del">
        <pc:chgData name="Raj, Rahul" userId="a261c7a4-6c08-4353-a267-7c4a6ced7dfc" providerId="ADAL" clId="{1D445AAF-636E-413A-811B-CB6EAB651D64}" dt="2020-03-11T16:55:06.367" v="20" actId="47"/>
        <pc:sldMkLst>
          <pc:docMk/>
          <pc:sldMk cId="1424795142" sldId="679"/>
        </pc:sldMkLst>
      </pc:sldChg>
      <pc:sldChg chg="del ord">
        <pc:chgData name="Raj, Rahul" userId="a261c7a4-6c08-4353-a267-7c4a6ced7dfc" providerId="ADAL" clId="{1D445AAF-636E-413A-811B-CB6EAB651D64}" dt="2020-03-11T17:59:02.303" v="225" actId="47"/>
        <pc:sldMkLst>
          <pc:docMk/>
          <pc:sldMk cId="2340811836" sldId="680"/>
        </pc:sldMkLst>
      </pc:sldChg>
      <pc:sldChg chg="del">
        <pc:chgData name="Raj, Rahul" userId="a261c7a4-6c08-4353-a267-7c4a6ced7dfc" providerId="ADAL" clId="{1D445AAF-636E-413A-811B-CB6EAB651D64}" dt="2020-03-11T17:17:46.814" v="68" actId="47"/>
        <pc:sldMkLst>
          <pc:docMk/>
          <pc:sldMk cId="1817592340" sldId="681"/>
        </pc:sldMkLst>
      </pc:sldChg>
      <pc:sldChg chg="del">
        <pc:chgData name="Raj, Rahul" userId="a261c7a4-6c08-4353-a267-7c4a6ced7dfc" providerId="ADAL" clId="{1D445AAF-636E-413A-811B-CB6EAB651D64}" dt="2020-03-11T17:17:50.128" v="69" actId="47"/>
        <pc:sldMkLst>
          <pc:docMk/>
          <pc:sldMk cId="1237820670" sldId="694"/>
        </pc:sldMkLst>
      </pc:sldChg>
      <pc:sldChg chg="del">
        <pc:chgData name="Raj, Rahul" userId="a261c7a4-6c08-4353-a267-7c4a6ced7dfc" providerId="ADAL" clId="{1D445AAF-636E-413A-811B-CB6EAB651D64}" dt="2020-03-11T17:17:50.891" v="70" actId="47"/>
        <pc:sldMkLst>
          <pc:docMk/>
          <pc:sldMk cId="2975031296" sldId="695"/>
        </pc:sldMkLst>
      </pc:sldChg>
      <pc:sldChg chg="del">
        <pc:chgData name="Raj, Rahul" userId="a261c7a4-6c08-4353-a267-7c4a6ced7dfc" providerId="ADAL" clId="{1D445AAF-636E-413A-811B-CB6EAB651D64}" dt="2020-03-11T17:17:51.413" v="71" actId="47"/>
        <pc:sldMkLst>
          <pc:docMk/>
          <pc:sldMk cId="271286884" sldId="696"/>
        </pc:sldMkLst>
      </pc:sldChg>
      <pc:sldChg chg="del">
        <pc:chgData name="Raj, Rahul" userId="a261c7a4-6c08-4353-a267-7c4a6ced7dfc" providerId="ADAL" clId="{1D445AAF-636E-413A-811B-CB6EAB651D64}" dt="2020-03-11T17:17:52.074" v="72" actId="47"/>
        <pc:sldMkLst>
          <pc:docMk/>
          <pc:sldMk cId="910114477" sldId="697"/>
        </pc:sldMkLst>
      </pc:sldChg>
      <pc:sldChg chg="del">
        <pc:chgData name="Raj, Rahul" userId="a261c7a4-6c08-4353-a267-7c4a6ced7dfc" providerId="ADAL" clId="{1D445AAF-636E-413A-811B-CB6EAB651D64}" dt="2020-03-11T17:17:52.633" v="73" actId="47"/>
        <pc:sldMkLst>
          <pc:docMk/>
          <pc:sldMk cId="2653002722" sldId="698"/>
        </pc:sldMkLst>
      </pc:sldChg>
      <pc:sldChg chg="del">
        <pc:chgData name="Raj, Rahul" userId="a261c7a4-6c08-4353-a267-7c4a6ced7dfc" providerId="ADAL" clId="{1D445AAF-636E-413A-811B-CB6EAB651D64}" dt="2020-03-11T17:17:53.256" v="74" actId="47"/>
        <pc:sldMkLst>
          <pc:docMk/>
          <pc:sldMk cId="1793457373" sldId="699"/>
        </pc:sldMkLst>
      </pc:sldChg>
      <pc:sldChg chg="del">
        <pc:chgData name="Raj, Rahul" userId="a261c7a4-6c08-4353-a267-7c4a6ced7dfc" providerId="ADAL" clId="{1D445AAF-636E-413A-811B-CB6EAB651D64}" dt="2020-03-11T16:54:30.324" v="17" actId="47"/>
        <pc:sldMkLst>
          <pc:docMk/>
          <pc:sldMk cId="2685508361" sldId="701"/>
        </pc:sldMkLst>
      </pc:sldChg>
      <pc:sldChg chg="modSp del ord">
        <pc:chgData name="Raj, Rahul" userId="a261c7a4-6c08-4353-a267-7c4a6ced7dfc" providerId="ADAL" clId="{1D445AAF-636E-413A-811B-CB6EAB651D64}" dt="2020-03-11T17:58:20.715" v="222" actId="47"/>
        <pc:sldMkLst>
          <pc:docMk/>
          <pc:sldMk cId="3054643203" sldId="702"/>
        </pc:sldMkLst>
        <pc:spChg chg="mod">
          <ac:chgData name="Raj, Rahul" userId="a261c7a4-6c08-4353-a267-7c4a6ced7dfc" providerId="ADAL" clId="{1D445AAF-636E-413A-811B-CB6EAB651D64}" dt="2020-03-11T17:12:35.546" v="59" actId="1076"/>
          <ac:spMkLst>
            <pc:docMk/>
            <pc:sldMk cId="3054643203" sldId="702"/>
            <ac:spMk id="34" creationId="{849F8015-A73D-43EC-BD67-5EF7C8368462}"/>
          </ac:spMkLst>
        </pc:spChg>
        <pc:picChg chg="mod">
          <ac:chgData name="Raj, Rahul" userId="a261c7a4-6c08-4353-a267-7c4a6ced7dfc" providerId="ADAL" clId="{1D445AAF-636E-413A-811B-CB6EAB651D64}" dt="2020-03-11T17:12:35.546" v="59" actId="1076"/>
          <ac:picMkLst>
            <pc:docMk/>
            <pc:sldMk cId="3054643203" sldId="702"/>
            <ac:picMk id="42" creationId="{C06E63B4-A19C-4AB2-B060-10A44625C53D}"/>
          </ac:picMkLst>
        </pc:picChg>
      </pc:sldChg>
      <pc:sldChg chg="del">
        <pc:chgData name="Raj, Rahul" userId="a261c7a4-6c08-4353-a267-7c4a6ced7dfc" providerId="ADAL" clId="{1D445AAF-636E-413A-811B-CB6EAB651D64}" dt="2020-03-11T16:52:36.994" v="1" actId="47"/>
        <pc:sldMkLst>
          <pc:docMk/>
          <pc:sldMk cId="1933240976" sldId="703"/>
        </pc:sldMkLst>
      </pc:sldChg>
      <pc:sldChg chg="del modTransition">
        <pc:chgData name="Raj, Rahul" userId="a261c7a4-6c08-4353-a267-7c4a6ced7dfc" providerId="ADAL" clId="{1D445AAF-636E-413A-811B-CB6EAB651D64}" dt="2020-03-11T17:17:15.712" v="61" actId="47"/>
        <pc:sldMkLst>
          <pc:docMk/>
          <pc:sldMk cId="2505812333" sldId="704"/>
        </pc:sldMkLst>
      </pc:sldChg>
      <pc:sldChg chg="modSp del">
        <pc:chgData name="Raj, Rahul" userId="a261c7a4-6c08-4353-a267-7c4a6ced7dfc" providerId="ADAL" clId="{1D445AAF-636E-413A-811B-CB6EAB651D64}" dt="2020-03-11T18:41:14.619" v="389" actId="47"/>
        <pc:sldMkLst>
          <pc:docMk/>
          <pc:sldMk cId="1162229833" sldId="705"/>
        </pc:sldMkLst>
        <pc:spChg chg="mod">
          <ac:chgData name="Raj, Rahul" userId="a261c7a4-6c08-4353-a267-7c4a6ced7dfc" providerId="ADAL" clId="{1D445AAF-636E-413A-811B-CB6EAB651D64}" dt="2020-03-11T17:57:36.497" v="211" actId="20577"/>
          <ac:spMkLst>
            <pc:docMk/>
            <pc:sldMk cId="1162229833" sldId="705"/>
            <ac:spMk id="41" creationId="{585DBEF4-19C4-4423-A75F-46007240980C}"/>
          </ac:spMkLst>
        </pc:spChg>
      </pc:sldChg>
      <pc:sldChg chg="addSp modSp add ord">
        <pc:chgData name="Raj, Rahul" userId="a261c7a4-6c08-4353-a267-7c4a6ced7dfc" providerId="ADAL" clId="{1D445AAF-636E-413A-811B-CB6EAB651D64}" dt="2020-03-11T18:06:01.618" v="316" actId="164"/>
        <pc:sldMkLst>
          <pc:docMk/>
          <pc:sldMk cId="3095161824" sldId="706"/>
        </pc:sldMkLst>
        <pc:spChg chg="mod">
          <ac:chgData name="Raj, Rahul" userId="a261c7a4-6c08-4353-a267-7c4a6ced7dfc" providerId="ADAL" clId="{1D445AAF-636E-413A-811B-CB6EAB651D64}" dt="2020-03-11T18:06:01.618" v="316" actId="164"/>
          <ac:spMkLst>
            <pc:docMk/>
            <pc:sldMk cId="3095161824" sldId="706"/>
            <ac:spMk id="31" creationId="{01330292-0E1B-42A2-A857-DB485CB46554}"/>
          </ac:spMkLst>
        </pc:spChg>
        <pc:spChg chg="mod">
          <ac:chgData name="Raj, Rahul" userId="a261c7a4-6c08-4353-a267-7c4a6ced7dfc" providerId="ADAL" clId="{1D445AAF-636E-413A-811B-CB6EAB651D64}" dt="2020-03-11T17:53:26.563" v="117" actId="20577"/>
          <ac:spMkLst>
            <pc:docMk/>
            <pc:sldMk cId="3095161824" sldId="706"/>
            <ac:spMk id="33" creationId="{9DB91EC4-6362-4CEE-9BDE-626F01416C17}"/>
          </ac:spMkLst>
        </pc:spChg>
        <pc:grpChg chg="add mod">
          <ac:chgData name="Raj, Rahul" userId="a261c7a4-6c08-4353-a267-7c4a6ced7dfc" providerId="ADAL" clId="{1D445AAF-636E-413A-811B-CB6EAB651D64}" dt="2020-03-11T18:06:01.618" v="316" actId="164"/>
          <ac:grpSpMkLst>
            <pc:docMk/>
            <pc:sldMk cId="3095161824" sldId="706"/>
            <ac:grpSpMk id="4" creationId="{D5C8223E-8D87-4C87-BBBE-8FFE09E131C2}"/>
          </ac:grpSpMkLst>
        </pc:grpChg>
        <pc:picChg chg="mod">
          <ac:chgData name="Raj, Rahul" userId="a261c7a4-6c08-4353-a267-7c4a6ced7dfc" providerId="ADAL" clId="{1D445AAF-636E-413A-811B-CB6EAB651D64}" dt="2020-03-11T18:06:01.618" v="316" actId="164"/>
          <ac:picMkLst>
            <pc:docMk/>
            <pc:sldMk cId="3095161824" sldId="706"/>
            <ac:picMk id="34" creationId="{D074DF44-8F1A-4764-A347-6B83DE56C6C0}"/>
          </ac:picMkLst>
        </pc:picChg>
        <pc:picChg chg="mod">
          <ac:chgData name="Raj, Rahul" userId="a261c7a4-6c08-4353-a267-7c4a6ced7dfc" providerId="ADAL" clId="{1D445AAF-636E-413A-811B-CB6EAB651D64}" dt="2020-03-11T18:06:01.618" v="316" actId="164"/>
          <ac:picMkLst>
            <pc:docMk/>
            <pc:sldMk cId="3095161824" sldId="706"/>
            <ac:picMk id="35" creationId="{FC5FC754-AC5B-4F35-A4DE-70B92E3FDEF5}"/>
          </ac:picMkLst>
        </pc:picChg>
      </pc:sldChg>
      <pc:sldChg chg="delSp modSp add">
        <pc:chgData name="Raj, Rahul" userId="a261c7a4-6c08-4353-a267-7c4a6ced7dfc" providerId="ADAL" clId="{1D445AAF-636E-413A-811B-CB6EAB651D64}" dt="2020-03-11T18:42:36.218" v="398" actId="1076"/>
        <pc:sldMkLst>
          <pc:docMk/>
          <pc:sldMk cId="4132586566" sldId="707"/>
        </pc:sldMkLst>
        <pc:spChg chg="mod">
          <ac:chgData name="Raj, Rahul" userId="a261c7a4-6c08-4353-a267-7c4a6ced7dfc" providerId="ADAL" clId="{1D445AAF-636E-413A-811B-CB6EAB651D64}" dt="2020-03-11T18:42:25.404" v="396" actId="120"/>
          <ac:spMkLst>
            <pc:docMk/>
            <pc:sldMk cId="4132586566" sldId="707"/>
            <ac:spMk id="2" creationId="{0333FA9C-A593-415F-AAFB-70266568945D}"/>
          </ac:spMkLst>
        </pc:spChg>
        <pc:spChg chg="mod">
          <ac:chgData name="Raj, Rahul" userId="a261c7a4-6c08-4353-a267-7c4a6ced7dfc" providerId="ADAL" clId="{1D445AAF-636E-413A-811B-CB6EAB651D64}" dt="2020-03-11T18:42:16.760" v="392" actId="2711"/>
          <ac:spMkLst>
            <pc:docMk/>
            <pc:sldMk cId="4132586566" sldId="707"/>
            <ac:spMk id="15" creationId="{11B4164A-246A-4348-BCAC-BF75CF956572}"/>
          </ac:spMkLst>
        </pc:spChg>
        <pc:spChg chg="mod">
          <ac:chgData name="Raj, Rahul" userId="a261c7a4-6c08-4353-a267-7c4a6ced7dfc" providerId="ADAL" clId="{1D445AAF-636E-413A-811B-CB6EAB651D64}" dt="2020-03-11T18:42:06.743" v="390" actId="2711"/>
          <ac:spMkLst>
            <pc:docMk/>
            <pc:sldMk cId="4132586566" sldId="707"/>
            <ac:spMk id="17" creationId="{A4405A10-224D-4BD5-B0B2-4BF6258924BC}"/>
          </ac:spMkLst>
        </pc:spChg>
        <pc:spChg chg="del">
          <ac:chgData name="Raj, Rahul" userId="a261c7a4-6c08-4353-a267-7c4a6ced7dfc" providerId="ADAL" clId="{1D445AAF-636E-413A-811B-CB6EAB651D64}" dt="2020-03-11T17:59:21.153" v="229" actId="478"/>
          <ac:spMkLst>
            <pc:docMk/>
            <pc:sldMk cId="4132586566" sldId="707"/>
            <ac:spMk id="23" creationId="{6B45EF6D-12B8-4AA4-8186-6387A540AE6B}"/>
          </ac:spMkLst>
        </pc:spChg>
        <pc:spChg chg="mod">
          <ac:chgData name="Raj, Rahul" userId="a261c7a4-6c08-4353-a267-7c4a6ced7dfc" providerId="ADAL" clId="{1D445AAF-636E-413A-811B-CB6EAB651D64}" dt="2020-03-11T17:59:32.643" v="253" actId="20577"/>
          <ac:spMkLst>
            <pc:docMk/>
            <pc:sldMk cId="4132586566" sldId="707"/>
            <ac:spMk id="24" creationId="{0419B8BF-5B78-49F3-ACCE-27E7AD5ED205}"/>
          </ac:spMkLst>
        </pc:spChg>
        <pc:grpChg chg="mod">
          <ac:chgData name="Raj, Rahul" userId="a261c7a4-6c08-4353-a267-7c4a6ced7dfc" providerId="ADAL" clId="{1D445AAF-636E-413A-811B-CB6EAB651D64}" dt="2020-03-11T18:42:36.218" v="398" actId="1076"/>
          <ac:grpSpMkLst>
            <pc:docMk/>
            <pc:sldMk cId="4132586566" sldId="707"/>
            <ac:grpSpMk id="3" creationId="{D600061A-843C-4C21-9323-38EE6FABFBAF}"/>
          </ac:grpSpMkLst>
        </pc:grpChg>
        <pc:grpChg chg="del">
          <ac:chgData name="Raj, Rahul" userId="a261c7a4-6c08-4353-a267-7c4a6ced7dfc" providerId="ADAL" clId="{1D445AAF-636E-413A-811B-CB6EAB651D64}" dt="2020-03-11T17:59:24.636" v="230" actId="478"/>
          <ac:grpSpMkLst>
            <pc:docMk/>
            <pc:sldMk cId="4132586566" sldId="707"/>
            <ac:grpSpMk id="8" creationId="{29E33E33-BEB4-4489-8574-53BA978C663A}"/>
          </ac:grpSpMkLst>
        </pc:grpChg>
        <pc:grpChg chg="mod">
          <ac:chgData name="Raj, Rahul" userId="a261c7a4-6c08-4353-a267-7c4a6ced7dfc" providerId="ADAL" clId="{1D445AAF-636E-413A-811B-CB6EAB651D64}" dt="2020-03-11T18:42:36.218" v="398" actId="1076"/>
          <ac:grpSpMkLst>
            <pc:docMk/>
            <pc:sldMk cId="4132586566" sldId="707"/>
            <ac:grpSpMk id="13" creationId="{623160A7-03A2-4FB7-89A7-8536FFBFB919}"/>
          </ac:grpSpMkLst>
        </pc:grpChg>
        <pc:picChg chg="del">
          <ac:chgData name="Raj, Rahul" userId="a261c7a4-6c08-4353-a267-7c4a6ced7dfc" providerId="ADAL" clId="{1D445AAF-636E-413A-811B-CB6EAB651D64}" dt="2020-03-11T17:59:21.153" v="229" actId="478"/>
          <ac:picMkLst>
            <pc:docMk/>
            <pc:sldMk cId="4132586566" sldId="707"/>
            <ac:picMk id="25" creationId="{E73CE490-0B2B-4642-A7E5-C0A192A6EB3B}"/>
          </ac:picMkLst>
        </pc:picChg>
        <pc:picChg chg="del">
          <ac:chgData name="Raj, Rahul" userId="a261c7a4-6c08-4353-a267-7c4a6ced7dfc" providerId="ADAL" clId="{1D445AAF-636E-413A-811B-CB6EAB651D64}" dt="2020-03-11T17:59:21.153" v="229" actId="478"/>
          <ac:picMkLst>
            <pc:docMk/>
            <pc:sldMk cId="4132586566" sldId="707"/>
            <ac:picMk id="26" creationId="{B11D7BFD-0CF4-41F3-9085-ECE90DCC4C91}"/>
          </ac:picMkLst>
        </pc:picChg>
        <pc:picChg chg="del">
          <ac:chgData name="Raj, Rahul" userId="a261c7a4-6c08-4353-a267-7c4a6ced7dfc" providerId="ADAL" clId="{1D445AAF-636E-413A-811B-CB6EAB651D64}" dt="2020-03-11T17:59:21.153" v="229" actId="478"/>
          <ac:picMkLst>
            <pc:docMk/>
            <pc:sldMk cId="4132586566" sldId="707"/>
            <ac:picMk id="27" creationId="{D38BA7B1-0205-4430-892F-5BB6C4663E2C}"/>
          </ac:picMkLst>
        </pc:picChg>
      </pc:sldChg>
      <pc:sldChg chg="addSp delSp add">
        <pc:chgData name="Raj, Rahul" userId="a261c7a4-6c08-4353-a267-7c4a6ced7dfc" providerId="ADAL" clId="{1D445AAF-636E-413A-811B-CB6EAB651D64}" dt="2020-03-11T18:26:19.662" v="375"/>
        <pc:sldMkLst>
          <pc:docMk/>
          <pc:sldMk cId="626541197" sldId="708"/>
        </pc:sldMkLst>
        <pc:grpChg chg="del">
          <ac:chgData name="Raj, Rahul" userId="a261c7a4-6c08-4353-a267-7c4a6ced7dfc" providerId="ADAL" clId="{1D445AAF-636E-413A-811B-CB6EAB651D64}" dt="2020-03-11T18:26:11.110" v="372" actId="478"/>
          <ac:grpSpMkLst>
            <pc:docMk/>
            <pc:sldMk cId="626541197" sldId="708"/>
            <ac:grpSpMk id="3" creationId="{1DE82A48-A6B9-4357-A745-2EE71B55F262}"/>
          </ac:grpSpMkLst>
        </pc:grpChg>
        <pc:grpChg chg="del">
          <ac:chgData name="Raj, Rahul" userId="a261c7a4-6c08-4353-a267-7c4a6ced7dfc" providerId="ADAL" clId="{1D445AAF-636E-413A-811B-CB6EAB651D64}" dt="2020-03-11T18:26:19.105" v="374" actId="478"/>
          <ac:grpSpMkLst>
            <pc:docMk/>
            <pc:sldMk cId="626541197" sldId="708"/>
            <ac:grpSpMk id="7" creationId="{67793883-0F37-43F2-9087-CA02D76CBAA0}"/>
          </ac:grpSpMkLst>
        </pc:grpChg>
        <pc:grpChg chg="add">
          <ac:chgData name="Raj, Rahul" userId="a261c7a4-6c08-4353-a267-7c4a6ced7dfc" providerId="ADAL" clId="{1D445AAF-636E-413A-811B-CB6EAB651D64}" dt="2020-03-11T18:26:11.688" v="373"/>
          <ac:grpSpMkLst>
            <pc:docMk/>
            <pc:sldMk cId="626541197" sldId="708"/>
            <ac:grpSpMk id="24" creationId="{F4BFBC9F-2D91-4170-A74D-F024E11DCB65}"/>
          </ac:grpSpMkLst>
        </pc:grpChg>
        <pc:grpChg chg="add">
          <ac:chgData name="Raj, Rahul" userId="a261c7a4-6c08-4353-a267-7c4a6ced7dfc" providerId="ADAL" clId="{1D445AAF-636E-413A-811B-CB6EAB651D64}" dt="2020-03-11T18:26:19.662" v="375"/>
          <ac:grpSpMkLst>
            <pc:docMk/>
            <pc:sldMk cId="626541197" sldId="708"/>
            <ac:grpSpMk id="30" creationId="{12116F6A-3C86-4976-B887-3AFE43B2CD12}"/>
          </ac:grpSpMkLst>
        </pc:grpChg>
      </pc:sldChg>
      <pc:sldChg chg="addSp delSp add">
        <pc:chgData name="Raj, Rahul" userId="a261c7a4-6c08-4353-a267-7c4a6ced7dfc" providerId="ADAL" clId="{1D445AAF-636E-413A-811B-CB6EAB651D64}" dt="2020-03-11T18:25:22.957" v="371"/>
        <pc:sldMkLst>
          <pc:docMk/>
          <pc:sldMk cId="3948948540" sldId="709"/>
        </pc:sldMkLst>
        <pc:grpChg chg="del">
          <ac:chgData name="Raj, Rahul" userId="a261c7a4-6c08-4353-a267-7c4a6ced7dfc" providerId="ADAL" clId="{1D445AAF-636E-413A-811B-CB6EAB651D64}" dt="2020-03-11T18:25:01.551" v="353" actId="478"/>
          <ac:grpSpMkLst>
            <pc:docMk/>
            <pc:sldMk cId="3948948540" sldId="709"/>
            <ac:grpSpMk id="7" creationId="{67793883-0F37-43F2-9087-CA02D76CBAA0}"/>
          </ac:grpSpMkLst>
        </pc:grpChg>
        <pc:grpChg chg="del">
          <ac:chgData name="Raj, Rahul" userId="a261c7a4-6c08-4353-a267-7c4a6ced7dfc" providerId="ADAL" clId="{1D445AAF-636E-413A-811B-CB6EAB651D64}" dt="2020-03-11T18:25:01.551" v="353" actId="478"/>
          <ac:grpSpMkLst>
            <pc:docMk/>
            <pc:sldMk cId="3948948540" sldId="709"/>
            <ac:grpSpMk id="11" creationId="{8ABE68E6-9629-488C-B73D-9F9635F7339B}"/>
          </ac:grpSpMkLst>
        </pc:grpChg>
        <pc:grpChg chg="add del">
          <ac:chgData name="Raj, Rahul" userId="a261c7a4-6c08-4353-a267-7c4a6ced7dfc" providerId="ADAL" clId="{1D445AAF-636E-413A-811B-CB6EAB651D64}" dt="2020-03-11T18:25:05.876" v="355"/>
          <ac:grpSpMkLst>
            <pc:docMk/>
            <pc:sldMk cId="3948948540" sldId="709"/>
            <ac:grpSpMk id="24" creationId="{A0F977D9-7F75-4DBD-B01E-5A6143850B43}"/>
          </ac:grpSpMkLst>
        </pc:grpChg>
        <pc:grpChg chg="add del">
          <ac:chgData name="Raj, Rahul" userId="a261c7a4-6c08-4353-a267-7c4a6ced7dfc" providerId="ADAL" clId="{1D445AAF-636E-413A-811B-CB6EAB651D64}" dt="2020-03-11T18:25:15.754" v="366"/>
          <ac:grpSpMkLst>
            <pc:docMk/>
            <pc:sldMk cId="3948948540" sldId="709"/>
            <ac:grpSpMk id="29" creationId="{6508B04D-DF7E-4766-B134-C6ED05B168D0}"/>
          </ac:grpSpMkLst>
        </pc:grpChg>
        <pc:grpChg chg="add">
          <ac:chgData name="Raj, Rahul" userId="a261c7a4-6c08-4353-a267-7c4a6ced7dfc" providerId="ADAL" clId="{1D445AAF-636E-413A-811B-CB6EAB651D64}" dt="2020-03-11T18:25:14.239" v="365"/>
          <ac:grpSpMkLst>
            <pc:docMk/>
            <pc:sldMk cId="3948948540" sldId="709"/>
            <ac:grpSpMk id="39" creationId="{2FC1E2F5-1C11-4092-B17F-4A1EB8E21E7C}"/>
          </ac:grpSpMkLst>
        </pc:grpChg>
        <pc:grpChg chg="add">
          <ac:chgData name="Raj, Rahul" userId="a261c7a4-6c08-4353-a267-7c4a6ced7dfc" providerId="ADAL" clId="{1D445AAF-636E-413A-811B-CB6EAB651D64}" dt="2020-03-11T18:25:22.957" v="371"/>
          <ac:grpSpMkLst>
            <pc:docMk/>
            <pc:sldMk cId="3948948540" sldId="709"/>
            <ac:grpSpMk id="43" creationId="{5E546480-6158-4669-BF0B-FBB973F0029D}"/>
          </ac:grpSpMkLst>
        </pc:grpChg>
      </pc:sldChg>
      <pc:sldChg chg="addSp delSp add">
        <pc:chgData name="Raj, Rahul" userId="a261c7a4-6c08-4353-a267-7c4a6ced7dfc" providerId="ADAL" clId="{1D445AAF-636E-413A-811B-CB6EAB651D64}" dt="2020-03-11T18:26:56.594" v="379"/>
        <pc:sldMkLst>
          <pc:docMk/>
          <pc:sldMk cId="3745573308" sldId="710"/>
        </pc:sldMkLst>
        <pc:grpChg chg="del">
          <ac:chgData name="Raj, Rahul" userId="a261c7a4-6c08-4353-a267-7c4a6ced7dfc" providerId="ADAL" clId="{1D445AAF-636E-413A-811B-CB6EAB651D64}" dt="2020-03-11T18:26:40.878" v="377" actId="478"/>
          <ac:grpSpMkLst>
            <pc:docMk/>
            <pc:sldMk cId="3745573308" sldId="710"/>
            <ac:grpSpMk id="3" creationId="{1DE82A48-A6B9-4357-A745-2EE71B55F262}"/>
          </ac:grpSpMkLst>
        </pc:grpChg>
        <pc:grpChg chg="del">
          <ac:chgData name="Raj, Rahul" userId="a261c7a4-6c08-4353-a267-7c4a6ced7dfc" providerId="ADAL" clId="{1D445AAF-636E-413A-811B-CB6EAB651D64}" dt="2020-03-11T18:26:40.878" v="377" actId="478"/>
          <ac:grpSpMkLst>
            <pc:docMk/>
            <pc:sldMk cId="3745573308" sldId="710"/>
            <ac:grpSpMk id="11" creationId="{8ABE68E6-9629-488C-B73D-9F9635F7339B}"/>
          </ac:grpSpMkLst>
        </pc:grpChg>
        <pc:grpChg chg="add">
          <ac:chgData name="Raj, Rahul" userId="a261c7a4-6c08-4353-a267-7c4a6ced7dfc" providerId="ADAL" clId="{1D445AAF-636E-413A-811B-CB6EAB651D64}" dt="2020-03-11T18:26:46.499" v="378"/>
          <ac:grpSpMkLst>
            <pc:docMk/>
            <pc:sldMk cId="3745573308" sldId="710"/>
            <ac:grpSpMk id="24" creationId="{13D8E77D-A6BB-45E4-91E2-2A61C376C8B4}"/>
          </ac:grpSpMkLst>
        </pc:grpChg>
        <pc:grpChg chg="add">
          <ac:chgData name="Raj, Rahul" userId="a261c7a4-6c08-4353-a267-7c4a6ced7dfc" providerId="ADAL" clId="{1D445AAF-636E-413A-811B-CB6EAB651D64}" dt="2020-03-11T18:26:56.594" v="379"/>
          <ac:grpSpMkLst>
            <pc:docMk/>
            <pc:sldMk cId="3745573308" sldId="710"/>
            <ac:grpSpMk id="30" creationId="{10A131E4-85DE-40FA-A98C-F10C130A1F4C}"/>
          </ac:grpSpMkLst>
        </pc:grpChg>
      </pc:sldChg>
      <pc:sldChg chg="add del">
        <pc:chgData name="Raj, Rahul" userId="a261c7a4-6c08-4353-a267-7c4a6ced7dfc" providerId="ADAL" clId="{1D445AAF-636E-413A-811B-CB6EAB651D64}" dt="2020-03-11T18:38:11.619" v="387"/>
        <pc:sldMkLst>
          <pc:docMk/>
          <pc:sldMk cId="2470478759" sldId="712"/>
        </pc:sldMkLst>
      </pc:sldChg>
      <pc:sldMasterChg chg="modSldLayout">
        <pc:chgData name="Raj, Rahul" userId="a261c7a4-6c08-4353-a267-7c4a6ced7dfc" providerId="ADAL" clId="{1D445AAF-636E-413A-811B-CB6EAB651D64}" dt="2020-03-11T17:19:58.230" v="80" actId="478"/>
        <pc:sldMasterMkLst>
          <pc:docMk/>
          <pc:sldMasterMk cId="1249165164" sldId="2147483660"/>
        </pc:sldMasterMkLst>
        <pc:sldLayoutChg chg="delSp">
          <pc:chgData name="Raj, Rahul" userId="a261c7a4-6c08-4353-a267-7c4a6ced7dfc" providerId="ADAL" clId="{1D445AAF-636E-413A-811B-CB6EAB651D64}" dt="2020-03-11T17:19:58.230" v="80" actId="478"/>
          <pc:sldLayoutMkLst>
            <pc:docMk/>
            <pc:sldMasterMk cId="1249165164" sldId="2147483660"/>
            <pc:sldLayoutMk cId="3368695364" sldId="2147483672"/>
          </pc:sldLayoutMkLst>
          <pc:picChg chg="del">
            <ac:chgData name="Raj, Rahul" userId="a261c7a4-6c08-4353-a267-7c4a6ced7dfc" providerId="ADAL" clId="{1D445AAF-636E-413A-811B-CB6EAB651D64}" dt="2020-03-11T17:19:58.230" v="80" actId="478"/>
            <ac:picMkLst>
              <pc:docMk/>
              <pc:sldMasterMk cId="1249165164" sldId="2147483660"/>
              <pc:sldLayoutMk cId="3368695364" sldId="2147483672"/>
              <ac:picMk id="6" creationId="{D102BADF-2F94-4077-A2CC-9607940A8934}"/>
            </ac:picMkLst>
          </pc:picChg>
        </pc:sldLayoutChg>
      </pc:sldMasterChg>
    </pc:docChg>
  </pc:docChgLst>
  <pc:docChgLst>
    <pc:chgData name="Siddharth Harisankar" userId="674f85ebb43ba4be" providerId="LiveId" clId="{A9044769-B0AC-4FA2-BD3F-263C354FCCC3}"/>
    <pc:docChg chg="delSld">
      <pc:chgData name="Siddharth Harisankar" userId="674f85ebb43ba4be" providerId="LiveId" clId="{A9044769-B0AC-4FA2-BD3F-263C354FCCC3}" dt="2020-03-11T20:38:45.679" v="0" actId="2696"/>
      <pc:docMkLst>
        <pc:docMk/>
      </pc:docMkLst>
      <pc:sldChg chg="del">
        <pc:chgData name="Siddharth Harisankar" userId="674f85ebb43ba4be" providerId="LiveId" clId="{A9044769-B0AC-4FA2-BD3F-263C354FCCC3}" dt="2020-03-11T20:38:45.679" v="0" actId="2696"/>
        <pc:sldMkLst>
          <pc:docMk/>
          <pc:sldMk cId="3013548293" sldId="719"/>
        </pc:sldMkLst>
      </pc:sldChg>
    </pc:docChg>
  </pc:docChgLst>
  <pc:docChgLst>
    <pc:chgData name="Siddharth Harisankar" userId="e0bcdbd0-38b1-4f04-904b-878237e0514e" providerId="ADAL" clId="{C60A4992-8F66-4C9B-8329-6D165390F93B}"/>
    <pc:docChg chg="custSel addSld delSld modSld">
      <pc:chgData name="Siddharth Harisankar" userId="e0bcdbd0-38b1-4f04-904b-878237e0514e" providerId="ADAL" clId="{C60A4992-8F66-4C9B-8329-6D165390F93B}" dt="2020-03-11T19:16:10.488" v="8444" actId="20577"/>
      <pc:docMkLst>
        <pc:docMk/>
      </pc:docMkLst>
      <pc:sldChg chg="addSp delSp modSp del">
        <pc:chgData name="Siddharth Harisankar" userId="e0bcdbd0-38b1-4f04-904b-878237e0514e" providerId="ADAL" clId="{C60A4992-8F66-4C9B-8329-6D165390F93B}" dt="2020-03-11T18:17:18.015" v="4185" actId="2696"/>
        <pc:sldMkLst>
          <pc:docMk/>
          <pc:sldMk cId="3970951549" sldId="603"/>
        </pc:sldMkLst>
        <pc:spChg chg="mod ord">
          <ac:chgData name="Siddharth Harisankar" userId="e0bcdbd0-38b1-4f04-904b-878237e0514e" providerId="ADAL" clId="{C60A4992-8F66-4C9B-8329-6D165390F93B}" dt="2020-03-11T18:17:00.700" v="3603"/>
          <ac:spMkLst>
            <pc:docMk/>
            <pc:sldMk cId="3970951549" sldId="603"/>
            <ac:spMk id="2" creationId="{51727749-65AB-4FAC-AC8A-78D01F343C68}"/>
          </ac:spMkLst>
        </pc:spChg>
        <pc:spChg chg="del">
          <ac:chgData name="Siddharth Harisankar" userId="e0bcdbd0-38b1-4f04-904b-878237e0514e" providerId="ADAL" clId="{C60A4992-8F66-4C9B-8329-6D165390F93B}" dt="2020-03-11T17:50:46.269" v="132"/>
          <ac:spMkLst>
            <pc:docMk/>
            <pc:sldMk cId="3970951549" sldId="603"/>
            <ac:spMk id="3" creationId="{A3334B52-6B38-4317-807F-CBCE0B1F2CE3}"/>
          </ac:spMkLst>
        </pc:spChg>
        <pc:spChg chg="del">
          <ac:chgData name="Siddharth Harisankar" userId="e0bcdbd0-38b1-4f04-904b-878237e0514e" providerId="ADAL" clId="{C60A4992-8F66-4C9B-8329-6D165390F93B}" dt="2020-03-11T17:50:46.294" v="143"/>
          <ac:spMkLst>
            <pc:docMk/>
            <pc:sldMk cId="3970951549" sldId="603"/>
            <ac:spMk id="5" creationId="{451E35A4-0D1A-411A-90E3-9A0CAE823EAB}"/>
          </ac:spMkLst>
        </pc:spChg>
        <pc:spChg chg="add del mod ord">
          <ac:chgData name="Siddharth Harisankar" userId="e0bcdbd0-38b1-4f04-904b-878237e0514e" providerId="ADAL" clId="{C60A4992-8F66-4C9B-8329-6D165390F93B}" dt="2020-03-11T17:51:38.714" v="1748"/>
          <ac:spMkLst>
            <pc:docMk/>
            <pc:sldMk cId="3970951549" sldId="603"/>
            <ac:spMk id="6" creationId="{2A30457E-AB22-4A40-8094-9F95A5B8B901}"/>
          </ac:spMkLst>
        </pc:spChg>
        <pc:spChg chg="add del mod ord">
          <ac:chgData name="Siddharth Harisankar" userId="e0bcdbd0-38b1-4f04-904b-878237e0514e" providerId="ADAL" clId="{C60A4992-8F66-4C9B-8329-6D165390F93B}" dt="2020-03-11T17:51:38.721" v="1759"/>
          <ac:spMkLst>
            <pc:docMk/>
            <pc:sldMk cId="3970951549" sldId="603"/>
            <ac:spMk id="7" creationId="{C58A61D8-6A92-4A49-AFD3-A82A6853FE38}"/>
          </ac:spMkLst>
        </pc:spChg>
        <pc:spChg chg="add del mod">
          <ac:chgData name="Siddharth Harisankar" userId="e0bcdbd0-38b1-4f04-904b-878237e0514e" providerId="ADAL" clId="{C60A4992-8F66-4C9B-8329-6D165390F93B}" dt="2020-03-11T17:51:38.727" v="1769"/>
          <ac:spMkLst>
            <pc:docMk/>
            <pc:sldMk cId="3970951549" sldId="603"/>
            <ac:spMk id="8" creationId="{96C8D32F-D4CA-4C3D-9339-99685BB77C61}"/>
          </ac:spMkLst>
        </pc:spChg>
        <pc:spChg chg="add del mod ord">
          <ac:chgData name="Siddharth Harisankar" userId="e0bcdbd0-38b1-4f04-904b-878237e0514e" providerId="ADAL" clId="{C60A4992-8F66-4C9B-8329-6D165390F93B}" dt="2020-03-11T17:51:38.734" v="1778"/>
          <ac:spMkLst>
            <pc:docMk/>
            <pc:sldMk cId="3970951549" sldId="603"/>
            <ac:spMk id="9" creationId="{A747E8C9-2C78-4443-A616-CA72499F0CA6}"/>
          </ac:spMkLst>
        </pc:spChg>
        <pc:spChg chg="add del mod ord">
          <ac:chgData name="Siddharth Harisankar" userId="e0bcdbd0-38b1-4f04-904b-878237e0514e" providerId="ADAL" clId="{C60A4992-8F66-4C9B-8329-6D165390F93B}" dt="2020-03-11T17:51:38.741" v="1789"/>
          <ac:spMkLst>
            <pc:docMk/>
            <pc:sldMk cId="3970951549" sldId="603"/>
            <ac:spMk id="10" creationId="{A3AA59CE-670F-49A1-97E0-A319AA0F7E0E}"/>
          </ac:spMkLst>
        </pc:spChg>
        <pc:spChg chg="add del mod">
          <ac:chgData name="Siddharth Harisankar" userId="e0bcdbd0-38b1-4f04-904b-878237e0514e" providerId="ADAL" clId="{C60A4992-8F66-4C9B-8329-6D165390F93B}" dt="2020-03-11T17:51:38.747" v="1799"/>
          <ac:spMkLst>
            <pc:docMk/>
            <pc:sldMk cId="3970951549" sldId="603"/>
            <ac:spMk id="11" creationId="{DDF70602-A7B8-4C28-9D61-89AC9E5D8ACD}"/>
          </ac:spMkLst>
        </pc:spChg>
        <pc:spChg chg="del">
          <ac:chgData name="Siddharth Harisankar" userId="e0bcdbd0-38b1-4f04-904b-878237e0514e" providerId="ADAL" clId="{C60A4992-8F66-4C9B-8329-6D165390F93B}" dt="2020-03-11T17:50:46.310" v="153"/>
          <ac:spMkLst>
            <pc:docMk/>
            <pc:sldMk cId="3970951549" sldId="603"/>
            <ac:spMk id="12" creationId="{4F6014A2-C166-4B02-B823-0DA57C6AAB51}"/>
          </ac:spMkLst>
        </pc:spChg>
        <pc:spChg chg="del">
          <ac:chgData name="Siddharth Harisankar" userId="e0bcdbd0-38b1-4f04-904b-878237e0514e" providerId="ADAL" clId="{C60A4992-8F66-4C9B-8329-6D165390F93B}" dt="2020-03-11T17:50:46.327" v="164"/>
          <ac:spMkLst>
            <pc:docMk/>
            <pc:sldMk cId="3970951549" sldId="603"/>
            <ac:spMk id="13" creationId="{C9361BD4-6612-4B61-812B-450BE11F98FD}"/>
          </ac:spMkLst>
        </pc:spChg>
        <pc:spChg chg="del">
          <ac:chgData name="Siddharth Harisankar" userId="e0bcdbd0-38b1-4f04-904b-878237e0514e" providerId="ADAL" clId="{C60A4992-8F66-4C9B-8329-6D165390F93B}" dt="2020-03-11T17:50:46.344" v="175"/>
          <ac:spMkLst>
            <pc:docMk/>
            <pc:sldMk cId="3970951549" sldId="603"/>
            <ac:spMk id="14" creationId="{8631D53F-FADD-49E1-9FC6-5255BD7D7507}"/>
          </ac:spMkLst>
        </pc:spChg>
        <pc:spChg chg="del">
          <ac:chgData name="Siddharth Harisankar" userId="e0bcdbd0-38b1-4f04-904b-878237e0514e" providerId="ADAL" clId="{C60A4992-8F66-4C9B-8329-6D165390F93B}" dt="2020-03-11T17:50:46.361" v="185"/>
          <ac:spMkLst>
            <pc:docMk/>
            <pc:sldMk cId="3970951549" sldId="603"/>
            <ac:spMk id="15" creationId="{B84A7642-61CA-414E-B4AB-1E35C7A33BF8}"/>
          </ac:spMkLst>
        </pc:spChg>
        <pc:spChg chg="del">
          <ac:chgData name="Siddharth Harisankar" userId="e0bcdbd0-38b1-4f04-904b-878237e0514e" providerId="ADAL" clId="{C60A4992-8F66-4C9B-8329-6D165390F93B}" dt="2020-03-11T17:50:46.373" v="194"/>
          <ac:spMkLst>
            <pc:docMk/>
            <pc:sldMk cId="3970951549" sldId="603"/>
            <ac:spMk id="16" creationId="{FCCDB0F2-9DCE-44EE-A1ED-0E8C2313A8F6}"/>
          </ac:spMkLst>
        </pc:spChg>
        <pc:spChg chg="add del mod ord">
          <ac:chgData name="Siddharth Harisankar" userId="e0bcdbd0-38b1-4f04-904b-878237e0514e" providerId="ADAL" clId="{C60A4992-8F66-4C9B-8329-6D165390F93B}" dt="2020-03-11T17:51:38.754" v="1808"/>
          <ac:spMkLst>
            <pc:docMk/>
            <pc:sldMk cId="3970951549" sldId="603"/>
            <ac:spMk id="17" creationId="{5BEE4B34-1AD4-4228-8F2E-C507E8FD99D5}"/>
          </ac:spMkLst>
        </pc:spChg>
        <pc:spChg chg="add del mod ord">
          <ac:chgData name="Siddharth Harisankar" userId="e0bcdbd0-38b1-4f04-904b-878237e0514e" providerId="ADAL" clId="{C60A4992-8F66-4C9B-8329-6D165390F93B}" dt="2020-03-11T17:51:38.760" v="1819"/>
          <ac:spMkLst>
            <pc:docMk/>
            <pc:sldMk cId="3970951549" sldId="603"/>
            <ac:spMk id="18" creationId="{870446AB-1D92-4EE1-93B7-6BAEC9055DE2}"/>
          </ac:spMkLst>
        </pc:spChg>
        <pc:spChg chg="del">
          <ac:chgData name="Siddharth Harisankar" userId="e0bcdbd0-38b1-4f04-904b-878237e0514e" providerId="ADAL" clId="{C60A4992-8F66-4C9B-8329-6D165390F93B}" dt="2020-03-11T17:50:46.387" v="205"/>
          <ac:spMkLst>
            <pc:docMk/>
            <pc:sldMk cId="3970951549" sldId="603"/>
            <ac:spMk id="19" creationId="{CCA94824-408C-42C3-9665-ED1C95D6A962}"/>
          </ac:spMkLst>
        </pc:spChg>
        <pc:spChg chg="del">
          <ac:chgData name="Siddharth Harisankar" userId="e0bcdbd0-38b1-4f04-904b-878237e0514e" providerId="ADAL" clId="{C60A4992-8F66-4C9B-8329-6D165390F93B}" dt="2020-03-11T17:50:46.403" v="215"/>
          <ac:spMkLst>
            <pc:docMk/>
            <pc:sldMk cId="3970951549" sldId="603"/>
            <ac:spMk id="20" creationId="{CF485E07-60E5-484D-B35E-6113BADB155D}"/>
          </ac:spMkLst>
        </pc:spChg>
        <pc:spChg chg="add del mod">
          <ac:chgData name="Siddharth Harisankar" userId="e0bcdbd0-38b1-4f04-904b-878237e0514e" providerId="ADAL" clId="{C60A4992-8F66-4C9B-8329-6D165390F93B}" dt="2020-03-11T17:51:38.766" v="1829"/>
          <ac:spMkLst>
            <pc:docMk/>
            <pc:sldMk cId="3970951549" sldId="603"/>
            <ac:spMk id="21" creationId="{92565F75-6C9F-4A23-B208-F9DA80E35837}"/>
          </ac:spMkLst>
        </pc:spChg>
        <pc:spChg chg="add del mod ord">
          <ac:chgData name="Siddharth Harisankar" userId="e0bcdbd0-38b1-4f04-904b-878237e0514e" providerId="ADAL" clId="{C60A4992-8F66-4C9B-8329-6D165390F93B}" dt="2020-03-11T18:16:31.829" v="2508"/>
          <ac:spMkLst>
            <pc:docMk/>
            <pc:sldMk cId="3970951549" sldId="603"/>
            <ac:spMk id="22" creationId="{55C2D325-C34A-47E0-86C9-FD9A7CFFB341}"/>
          </ac:spMkLst>
        </pc:spChg>
        <pc:spChg chg="add del mod ord">
          <ac:chgData name="Siddharth Harisankar" userId="e0bcdbd0-38b1-4f04-904b-878237e0514e" providerId="ADAL" clId="{C60A4992-8F66-4C9B-8329-6D165390F93B}" dt="2020-03-11T18:16:31.842" v="2519"/>
          <ac:spMkLst>
            <pc:docMk/>
            <pc:sldMk cId="3970951549" sldId="603"/>
            <ac:spMk id="23" creationId="{03A0CA26-8920-4C36-9F2F-525ACC24EDD1}"/>
          </ac:spMkLst>
        </pc:spChg>
        <pc:spChg chg="add del mod">
          <ac:chgData name="Siddharth Harisankar" userId="e0bcdbd0-38b1-4f04-904b-878237e0514e" providerId="ADAL" clId="{C60A4992-8F66-4C9B-8329-6D165390F93B}" dt="2020-03-11T18:16:31.859" v="2529"/>
          <ac:spMkLst>
            <pc:docMk/>
            <pc:sldMk cId="3970951549" sldId="603"/>
            <ac:spMk id="24" creationId="{0B5AD397-4E38-4381-AD7B-37B71A45EDF1}"/>
          </ac:spMkLst>
        </pc:spChg>
        <pc:spChg chg="add del mod ord">
          <ac:chgData name="Siddharth Harisankar" userId="e0bcdbd0-38b1-4f04-904b-878237e0514e" providerId="ADAL" clId="{C60A4992-8F66-4C9B-8329-6D165390F93B}" dt="2020-03-11T18:16:31.872" v="2538"/>
          <ac:spMkLst>
            <pc:docMk/>
            <pc:sldMk cId="3970951549" sldId="603"/>
            <ac:spMk id="25" creationId="{34F3C529-8572-4801-9D24-3C935D750182}"/>
          </ac:spMkLst>
        </pc:spChg>
        <pc:spChg chg="add del mod ord">
          <ac:chgData name="Siddharth Harisankar" userId="e0bcdbd0-38b1-4f04-904b-878237e0514e" providerId="ADAL" clId="{C60A4992-8F66-4C9B-8329-6D165390F93B}" dt="2020-03-11T18:16:31.886" v="2549"/>
          <ac:spMkLst>
            <pc:docMk/>
            <pc:sldMk cId="3970951549" sldId="603"/>
            <ac:spMk id="26" creationId="{27B7B13A-2569-4BEC-9175-A99FE7CB3248}"/>
          </ac:spMkLst>
        </pc:spChg>
        <pc:spChg chg="add del mod">
          <ac:chgData name="Siddharth Harisankar" userId="e0bcdbd0-38b1-4f04-904b-878237e0514e" providerId="ADAL" clId="{C60A4992-8F66-4C9B-8329-6D165390F93B}" dt="2020-03-11T18:16:31.892" v="2559"/>
          <ac:spMkLst>
            <pc:docMk/>
            <pc:sldMk cId="3970951549" sldId="603"/>
            <ac:spMk id="27" creationId="{A2B9F62D-C200-4996-85F7-2E2DF42C0A94}"/>
          </ac:spMkLst>
        </pc:spChg>
        <pc:spChg chg="add del mod ord">
          <ac:chgData name="Siddharth Harisankar" userId="e0bcdbd0-38b1-4f04-904b-878237e0514e" providerId="ADAL" clId="{C60A4992-8F66-4C9B-8329-6D165390F93B}" dt="2020-03-11T18:16:31.911" v="2568"/>
          <ac:spMkLst>
            <pc:docMk/>
            <pc:sldMk cId="3970951549" sldId="603"/>
            <ac:spMk id="28" creationId="{AFFDCBC0-7F8E-4D4C-BCEA-A52B286D53B2}"/>
          </ac:spMkLst>
        </pc:spChg>
        <pc:spChg chg="add del mod ord">
          <ac:chgData name="Siddharth Harisankar" userId="e0bcdbd0-38b1-4f04-904b-878237e0514e" providerId="ADAL" clId="{C60A4992-8F66-4C9B-8329-6D165390F93B}" dt="2020-03-11T18:16:31.923" v="2579"/>
          <ac:spMkLst>
            <pc:docMk/>
            <pc:sldMk cId="3970951549" sldId="603"/>
            <ac:spMk id="29" creationId="{993EE361-F2B1-438B-8D43-897B958005D0}"/>
          </ac:spMkLst>
        </pc:spChg>
        <pc:spChg chg="add del mod">
          <ac:chgData name="Siddharth Harisankar" userId="e0bcdbd0-38b1-4f04-904b-878237e0514e" providerId="ADAL" clId="{C60A4992-8F66-4C9B-8329-6D165390F93B}" dt="2020-03-11T18:16:31.936" v="2589"/>
          <ac:spMkLst>
            <pc:docMk/>
            <pc:sldMk cId="3970951549" sldId="603"/>
            <ac:spMk id="30" creationId="{99A8FE14-0B69-4638-B517-0FCBDA983302}"/>
          </ac:spMkLst>
        </pc:spChg>
        <pc:spChg chg="add del mod ord">
          <ac:chgData name="Siddharth Harisankar" userId="e0bcdbd0-38b1-4f04-904b-878237e0514e" providerId="ADAL" clId="{C60A4992-8F66-4C9B-8329-6D165390F93B}" dt="2020-03-11T18:16:54.056" v="3206"/>
          <ac:spMkLst>
            <pc:docMk/>
            <pc:sldMk cId="3970951549" sldId="603"/>
            <ac:spMk id="31" creationId="{240CCDAE-5AAD-4D22-9ED3-47C978BD038C}"/>
          </ac:spMkLst>
        </pc:spChg>
        <pc:spChg chg="add del mod ord">
          <ac:chgData name="Siddharth Harisankar" userId="e0bcdbd0-38b1-4f04-904b-878237e0514e" providerId="ADAL" clId="{C60A4992-8F66-4C9B-8329-6D165390F93B}" dt="2020-03-11T18:16:54.072" v="3217"/>
          <ac:spMkLst>
            <pc:docMk/>
            <pc:sldMk cId="3970951549" sldId="603"/>
            <ac:spMk id="32" creationId="{7989A581-BE00-4A90-91AA-137463A04592}"/>
          </ac:spMkLst>
        </pc:spChg>
        <pc:spChg chg="add del mod">
          <ac:chgData name="Siddharth Harisankar" userId="e0bcdbd0-38b1-4f04-904b-878237e0514e" providerId="ADAL" clId="{C60A4992-8F66-4C9B-8329-6D165390F93B}" dt="2020-03-11T18:16:54.087" v="3227"/>
          <ac:spMkLst>
            <pc:docMk/>
            <pc:sldMk cId="3970951549" sldId="603"/>
            <ac:spMk id="33" creationId="{1718F03B-5B35-46A2-9E7E-F429A344616A}"/>
          </ac:spMkLst>
        </pc:spChg>
        <pc:spChg chg="add del mod ord">
          <ac:chgData name="Siddharth Harisankar" userId="e0bcdbd0-38b1-4f04-904b-878237e0514e" providerId="ADAL" clId="{C60A4992-8F66-4C9B-8329-6D165390F93B}" dt="2020-03-11T18:16:54.101" v="3236"/>
          <ac:spMkLst>
            <pc:docMk/>
            <pc:sldMk cId="3970951549" sldId="603"/>
            <ac:spMk id="34" creationId="{93AF8315-DBE4-420D-A127-479D2E102FF4}"/>
          </ac:spMkLst>
        </pc:spChg>
        <pc:spChg chg="add del mod ord">
          <ac:chgData name="Siddharth Harisankar" userId="e0bcdbd0-38b1-4f04-904b-878237e0514e" providerId="ADAL" clId="{C60A4992-8F66-4C9B-8329-6D165390F93B}" dt="2020-03-11T18:16:54.116" v="3247"/>
          <ac:spMkLst>
            <pc:docMk/>
            <pc:sldMk cId="3970951549" sldId="603"/>
            <ac:spMk id="35" creationId="{775EDFFA-2B7F-42E0-8AF2-89277AD819AF}"/>
          </ac:spMkLst>
        </pc:spChg>
        <pc:spChg chg="add del mod">
          <ac:chgData name="Siddharth Harisankar" userId="e0bcdbd0-38b1-4f04-904b-878237e0514e" providerId="ADAL" clId="{C60A4992-8F66-4C9B-8329-6D165390F93B}" dt="2020-03-11T18:16:54.132" v="3257"/>
          <ac:spMkLst>
            <pc:docMk/>
            <pc:sldMk cId="3970951549" sldId="603"/>
            <ac:spMk id="36" creationId="{68720C72-0C9A-4A20-B2D6-90EEA86DDD85}"/>
          </ac:spMkLst>
        </pc:spChg>
        <pc:spChg chg="add del mod ord">
          <ac:chgData name="Siddharth Harisankar" userId="e0bcdbd0-38b1-4f04-904b-878237e0514e" providerId="ADAL" clId="{C60A4992-8F66-4C9B-8329-6D165390F93B}" dt="2020-03-11T18:16:54.151" v="3274"/>
          <ac:spMkLst>
            <pc:docMk/>
            <pc:sldMk cId="3970951549" sldId="603"/>
            <ac:spMk id="37" creationId="{9B3A85A1-2AB3-4C17-B351-44B50BD08437}"/>
          </ac:spMkLst>
        </pc:spChg>
        <pc:spChg chg="add del mod ord">
          <ac:chgData name="Siddharth Harisankar" userId="e0bcdbd0-38b1-4f04-904b-878237e0514e" providerId="ADAL" clId="{C60A4992-8F66-4C9B-8329-6D165390F93B}" dt="2020-03-11T18:16:54.165" v="3285"/>
          <ac:spMkLst>
            <pc:docMk/>
            <pc:sldMk cId="3970951549" sldId="603"/>
            <ac:spMk id="38" creationId="{2DA93A30-BBF0-4138-B622-4235DE59F6E3}"/>
          </ac:spMkLst>
        </pc:spChg>
        <pc:spChg chg="add del mod">
          <ac:chgData name="Siddharth Harisankar" userId="e0bcdbd0-38b1-4f04-904b-878237e0514e" providerId="ADAL" clId="{C60A4992-8F66-4C9B-8329-6D165390F93B}" dt="2020-03-11T18:16:54.179" v="3295"/>
          <ac:spMkLst>
            <pc:docMk/>
            <pc:sldMk cId="3970951549" sldId="603"/>
            <ac:spMk id="39" creationId="{1067EE57-5FF1-4862-B20C-FB0DAABC37E1}"/>
          </ac:spMkLst>
        </pc:spChg>
        <pc:spChg chg="add mod ord">
          <ac:chgData name="Siddharth Harisankar" userId="e0bcdbd0-38b1-4f04-904b-878237e0514e" providerId="ADAL" clId="{C60A4992-8F66-4C9B-8329-6D165390F93B}" dt="2020-03-11T18:17:00.706" v="3613"/>
          <ac:spMkLst>
            <pc:docMk/>
            <pc:sldMk cId="3970951549" sldId="603"/>
            <ac:spMk id="40" creationId="{4545458E-F9BC-43AA-A558-B0EB38E8EC74}"/>
          </ac:spMkLst>
        </pc:spChg>
        <pc:spChg chg="add mod ord">
          <ac:chgData name="Siddharth Harisankar" userId="e0bcdbd0-38b1-4f04-904b-878237e0514e" providerId="ADAL" clId="{C60A4992-8F66-4C9B-8329-6D165390F93B}" dt="2020-03-11T18:17:00.704" v="3609"/>
          <ac:spMkLst>
            <pc:docMk/>
            <pc:sldMk cId="3970951549" sldId="603"/>
            <ac:spMk id="41" creationId="{8AB0CDC5-21DC-4E96-8988-F3DAB078C6E6}"/>
          </ac:spMkLst>
        </pc:spChg>
        <pc:spChg chg="mod">
          <ac:chgData name="Siddharth Harisankar" userId="e0bcdbd0-38b1-4f04-904b-878237e0514e" providerId="ADAL" clId="{C60A4992-8F66-4C9B-8329-6D165390F93B}" dt="2020-03-11T18:17:00.720" v="3640"/>
          <ac:spMkLst>
            <pc:docMk/>
            <pc:sldMk cId="3970951549" sldId="603"/>
            <ac:spMk id="57" creationId="{82F87B6A-5743-438A-A5C3-D1A0CA52946D}"/>
          </ac:spMkLst>
        </pc:spChg>
        <pc:spChg chg="mod">
          <ac:chgData name="Siddharth Harisankar" userId="e0bcdbd0-38b1-4f04-904b-878237e0514e" providerId="ADAL" clId="{C60A4992-8F66-4C9B-8329-6D165390F93B}" dt="2020-03-11T18:17:00.720" v="3641"/>
          <ac:spMkLst>
            <pc:docMk/>
            <pc:sldMk cId="3970951549" sldId="603"/>
            <ac:spMk id="58" creationId="{EB0CDC31-655F-493E-89DD-86B3E7CB3C1F}"/>
          </ac:spMkLst>
        </pc:spChg>
        <pc:spChg chg="del mod">
          <ac:chgData name="Siddharth Harisankar" userId="e0bcdbd0-38b1-4f04-904b-878237e0514e" providerId="ADAL" clId="{C60A4992-8F66-4C9B-8329-6D165390F93B}" dt="2020-03-11T18:16:31.749" v="2478"/>
          <ac:spMkLst>
            <pc:docMk/>
            <pc:sldMk cId="3970951549" sldId="603"/>
            <ac:spMk id="59" creationId="{BF249ED4-BF01-4981-9D70-19E1A8F0A001}"/>
          </ac:spMkLst>
        </pc:spChg>
        <pc:spChg chg="del mod">
          <ac:chgData name="Siddharth Harisankar" userId="e0bcdbd0-38b1-4f04-904b-878237e0514e" providerId="ADAL" clId="{C60A4992-8F66-4C9B-8329-6D165390F93B}" dt="2020-03-11T18:17:00.582" v="3555"/>
          <ac:spMkLst>
            <pc:docMk/>
            <pc:sldMk cId="3970951549" sldId="603"/>
            <ac:spMk id="60" creationId="{86116B8D-0BB5-4647-A106-22D8F9DCCAA8}"/>
          </ac:spMkLst>
        </pc:spChg>
        <pc:spChg chg="mod">
          <ac:chgData name="Siddharth Harisankar" userId="e0bcdbd0-38b1-4f04-904b-878237e0514e" providerId="ADAL" clId="{C60A4992-8F66-4C9B-8329-6D165390F93B}" dt="2020-03-11T18:17:00.720" v="3639"/>
          <ac:spMkLst>
            <pc:docMk/>
            <pc:sldMk cId="3970951549" sldId="603"/>
            <ac:spMk id="61" creationId="{4258C5E6-D9AA-4059-944F-DDD9964E6099}"/>
          </ac:spMkLst>
        </pc:spChg>
        <pc:spChg chg="mod">
          <ac:chgData name="Siddharth Harisankar" userId="e0bcdbd0-38b1-4f04-904b-878237e0514e" providerId="ADAL" clId="{C60A4992-8F66-4C9B-8329-6D165390F93B}" dt="2020-03-11T18:17:00.724" v="3643"/>
          <ac:spMkLst>
            <pc:docMk/>
            <pc:sldMk cId="3970951549" sldId="603"/>
            <ac:spMk id="62" creationId="{E32FA1B3-97C4-42A2-8BFE-0090219EFD4B}"/>
          </ac:spMkLst>
        </pc:spChg>
        <pc:spChg chg="mod">
          <ac:chgData name="Siddharth Harisankar" userId="e0bcdbd0-38b1-4f04-904b-878237e0514e" providerId="ADAL" clId="{C60A4992-8F66-4C9B-8329-6D165390F93B}" dt="2020-03-11T18:17:00.720" v="3642"/>
          <ac:spMkLst>
            <pc:docMk/>
            <pc:sldMk cId="3970951549" sldId="603"/>
            <ac:spMk id="63" creationId="{C7BA7B2B-1BE6-4633-BE08-1D854BDEFCE4}"/>
          </ac:spMkLst>
        </pc:spChg>
        <pc:spChg chg="del mod">
          <ac:chgData name="Siddharth Harisankar" userId="e0bcdbd0-38b1-4f04-904b-878237e0514e" providerId="ADAL" clId="{C60A4992-8F66-4C9B-8329-6D165390F93B}" dt="2020-03-11T18:16:36.590" v="2815"/>
          <ac:spMkLst>
            <pc:docMk/>
            <pc:sldMk cId="3970951549" sldId="603"/>
            <ac:spMk id="64" creationId="{6BEA09B1-F9DE-4B70-BA96-D894CC50DDAD}"/>
          </ac:spMkLst>
        </pc:spChg>
        <pc:spChg chg="del mod">
          <ac:chgData name="Siddharth Harisankar" userId="e0bcdbd0-38b1-4f04-904b-878237e0514e" providerId="ADAL" clId="{C60A4992-8F66-4C9B-8329-6D165390F93B}" dt="2020-03-11T18:16:53.774" v="3098"/>
          <ac:spMkLst>
            <pc:docMk/>
            <pc:sldMk cId="3970951549" sldId="603"/>
            <ac:spMk id="65" creationId="{0D8C5E0D-D48B-46D8-BDA8-B57463A1EFE2}"/>
          </ac:spMkLst>
        </pc:spChg>
        <pc:spChg chg="del mod">
          <ac:chgData name="Siddharth Harisankar" userId="e0bcdbd0-38b1-4f04-904b-878237e0514e" providerId="ADAL" clId="{C60A4992-8F66-4C9B-8329-6D165390F93B}" dt="2020-03-11T18:16:53.775" v="3099"/>
          <ac:spMkLst>
            <pc:docMk/>
            <pc:sldMk cId="3970951549" sldId="603"/>
            <ac:spMk id="66" creationId="{BB20BA7B-DA78-41D5-AADD-DAFF613303E6}"/>
          </ac:spMkLst>
        </pc:spChg>
        <pc:spChg chg="mod">
          <ac:chgData name="Siddharth Harisankar" userId="e0bcdbd0-38b1-4f04-904b-878237e0514e" providerId="ADAL" clId="{C60A4992-8F66-4C9B-8329-6D165390F93B}" dt="2020-03-11T18:17:00.725" v="3644"/>
          <ac:spMkLst>
            <pc:docMk/>
            <pc:sldMk cId="3970951549" sldId="603"/>
            <ac:spMk id="67" creationId="{2E53AAC5-50DA-415C-899B-19FAD66DEFDE}"/>
          </ac:spMkLst>
        </pc:spChg>
        <pc:spChg chg="del mod">
          <ac:chgData name="Siddharth Harisankar" userId="e0bcdbd0-38b1-4f04-904b-878237e0514e" providerId="ADAL" clId="{C60A4992-8F66-4C9B-8329-6D165390F93B}" dt="2020-03-11T18:16:36.594" v="2816"/>
          <ac:spMkLst>
            <pc:docMk/>
            <pc:sldMk cId="3970951549" sldId="603"/>
            <ac:spMk id="68" creationId="{1C7EF568-00F9-49B8-A1A3-A9E5E6AAD1E2}"/>
          </ac:spMkLst>
        </pc:spChg>
        <pc:spChg chg="del mod ord">
          <ac:chgData name="Siddharth Harisankar" userId="e0bcdbd0-38b1-4f04-904b-878237e0514e" providerId="ADAL" clId="{C60A4992-8F66-4C9B-8329-6D165390F93B}" dt="2020-03-11T18:17:00.581" v="3554"/>
          <ac:spMkLst>
            <pc:docMk/>
            <pc:sldMk cId="3970951549" sldId="603"/>
            <ac:spMk id="69" creationId="{A0464344-B2AA-496A-8492-2FFE9B4FCD81}"/>
          </ac:spMkLst>
        </pc:spChg>
        <pc:spChg chg="mod ord">
          <ac:chgData name="Siddharth Harisankar" userId="e0bcdbd0-38b1-4f04-904b-878237e0514e" providerId="ADAL" clId="{C60A4992-8F66-4C9B-8329-6D165390F93B}" dt="2020-03-11T18:17:00.731" v="3648"/>
          <ac:spMkLst>
            <pc:docMk/>
            <pc:sldMk cId="3970951549" sldId="603"/>
            <ac:spMk id="70" creationId="{B9BF5547-1C7D-4105-B447-2B2CEB1118E6}"/>
          </ac:spMkLst>
        </pc:spChg>
        <pc:spChg chg="mod ord">
          <ac:chgData name="Siddharth Harisankar" userId="e0bcdbd0-38b1-4f04-904b-878237e0514e" providerId="ADAL" clId="{C60A4992-8F66-4C9B-8329-6D165390F93B}" dt="2020-03-11T18:17:00.733" v="3650"/>
          <ac:spMkLst>
            <pc:docMk/>
            <pc:sldMk cId="3970951549" sldId="603"/>
            <ac:spMk id="71" creationId="{1921944D-B765-4515-B7C7-5F1C64BEE53E}"/>
          </ac:spMkLst>
        </pc:spChg>
        <pc:spChg chg="mod ord">
          <ac:chgData name="Siddharth Harisankar" userId="e0bcdbd0-38b1-4f04-904b-878237e0514e" providerId="ADAL" clId="{C60A4992-8F66-4C9B-8329-6D165390F93B}" dt="2020-03-11T18:17:00.735" v="3652"/>
          <ac:spMkLst>
            <pc:docMk/>
            <pc:sldMk cId="3970951549" sldId="603"/>
            <ac:spMk id="72" creationId="{1A807318-7D0E-4218-BB9E-0775FD0290B9}"/>
          </ac:spMkLst>
        </pc:spChg>
        <pc:spChg chg="del mod ord">
          <ac:chgData name="Siddharth Harisankar" userId="e0bcdbd0-38b1-4f04-904b-878237e0514e" providerId="ADAL" clId="{C60A4992-8F66-4C9B-8329-6D165390F93B}" dt="2020-03-11T18:17:00.572" v="3546"/>
          <ac:spMkLst>
            <pc:docMk/>
            <pc:sldMk cId="3970951549" sldId="603"/>
            <ac:spMk id="73" creationId="{B4F31658-0331-4B7F-9939-4EF878A7944A}"/>
          </ac:spMkLst>
        </pc:spChg>
        <pc:spChg chg="mod">
          <ac:chgData name="Siddharth Harisankar" userId="e0bcdbd0-38b1-4f04-904b-878237e0514e" providerId="ADAL" clId="{C60A4992-8F66-4C9B-8329-6D165390F93B}" dt="2020-03-11T18:17:00.736" v="3654"/>
          <ac:spMkLst>
            <pc:docMk/>
            <pc:sldMk cId="3970951549" sldId="603"/>
            <ac:spMk id="74" creationId="{76013FAE-76E0-40D4-AEF9-FBA27E169732}"/>
          </ac:spMkLst>
        </pc:spChg>
        <pc:spChg chg="mod">
          <ac:chgData name="Siddharth Harisankar" userId="e0bcdbd0-38b1-4f04-904b-878237e0514e" providerId="ADAL" clId="{C60A4992-8F66-4C9B-8329-6D165390F93B}" dt="2020-03-11T18:17:00.736" v="3653"/>
          <ac:spMkLst>
            <pc:docMk/>
            <pc:sldMk cId="3970951549" sldId="603"/>
            <ac:spMk id="75" creationId="{20A75E27-8A57-45EC-AB89-D85A3AC2D639}"/>
          </ac:spMkLst>
        </pc:spChg>
        <pc:spChg chg="mod">
          <ac:chgData name="Siddharth Harisankar" userId="e0bcdbd0-38b1-4f04-904b-878237e0514e" providerId="ADAL" clId="{C60A4992-8F66-4C9B-8329-6D165390F93B}" dt="2020-03-11T18:17:00.740" v="3655"/>
          <ac:spMkLst>
            <pc:docMk/>
            <pc:sldMk cId="3970951549" sldId="603"/>
            <ac:spMk id="76" creationId="{7D94126C-CA88-4BF7-8C83-16EF2182A803}"/>
          </ac:spMkLst>
        </pc:spChg>
        <pc:spChg chg="mod">
          <ac:chgData name="Siddharth Harisankar" userId="e0bcdbd0-38b1-4f04-904b-878237e0514e" providerId="ADAL" clId="{C60A4992-8F66-4C9B-8329-6D165390F93B}" dt="2020-03-11T18:17:00.741" v="3656"/>
          <ac:spMkLst>
            <pc:docMk/>
            <pc:sldMk cId="3970951549" sldId="603"/>
            <ac:spMk id="77" creationId="{8672DFB2-2D77-47FC-96FF-F5A9F06792F5}"/>
          </ac:spMkLst>
        </pc:spChg>
        <pc:spChg chg="mod ord">
          <ac:chgData name="Siddharth Harisankar" userId="e0bcdbd0-38b1-4f04-904b-878237e0514e" providerId="ADAL" clId="{C60A4992-8F66-4C9B-8329-6D165390F93B}" dt="2020-03-11T18:17:00.744" v="3658"/>
          <ac:spMkLst>
            <pc:docMk/>
            <pc:sldMk cId="3970951549" sldId="603"/>
            <ac:spMk id="78" creationId="{BC1BB4AC-582E-450D-83B8-572E8B7E8B50}"/>
          </ac:spMkLst>
        </pc:spChg>
        <pc:spChg chg="mod ord">
          <ac:chgData name="Siddharth Harisankar" userId="e0bcdbd0-38b1-4f04-904b-878237e0514e" providerId="ADAL" clId="{C60A4992-8F66-4C9B-8329-6D165390F93B}" dt="2020-03-11T18:17:00.746" v="3660"/>
          <ac:spMkLst>
            <pc:docMk/>
            <pc:sldMk cId="3970951549" sldId="603"/>
            <ac:spMk id="79" creationId="{01563A8F-7288-41B8-A24C-9F5DAED2E0BB}"/>
          </ac:spMkLst>
        </pc:spChg>
        <pc:spChg chg="add mod">
          <ac:chgData name="Siddharth Harisankar" userId="e0bcdbd0-38b1-4f04-904b-878237e0514e" providerId="ADAL" clId="{C60A4992-8F66-4C9B-8329-6D165390F93B}" dt="2020-03-11T18:17:00.727" v="3645"/>
          <ac:spMkLst>
            <pc:docMk/>
            <pc:sldMk cId="3970951549" sldId="603"/>
            <ac:spMk id="96" creationId="{13CED523-D497-4AE4-9D99-FFB688D5A777}"/>
          </ac:spMkLst>
        </pc:spChg>
        <pc:spChg chg="add mod">
          <ac:chgData name="Siddharth Harisankar" userId="e0bcdbd0-38b1-4f04-904b-878237e0514e" providerId="ADAL" clId="{C60A4992-8F66-4C9B-8329-6D165390F93B}" dt="2020-03-11T18:17:00.729" v="3646"/>
          <ac:spMkLst>
            <pc:docMk/>
            <pc:sldMk cId="3970951549" sldId="603"/>
            <ac:spMk id="97" creationId="{85937C68-D38C-4CF6-AABD-37159EF38468}"/>
          </ac:spMkLst>
        </pc:spChg>
        <pc:spChg chg="add mod">
          <ac:chgData name="Siddharth Harisankar" userId="e0bcdbd0-38b1-4f04-904b-878237e0514e" providerId="ADAL" clId="{C60A4992-8F66-4C9B-8329-6D165390F93B}" dt="2020-03-11T18:17:00.701" v="3606"/>
          <ac:spMkLst>
            <pc:docMk/>
            <pc:sldMk cId="3970951549" sldId="603"/>
            <ac:spMk id="98" creationId="{A9CAB5AB-B5ED-41E3-94D6-6E3EC9897A8D}"/>
          </ac:spMkLst>
        </pc:spChg>
        <pc:spChg chg="add mod ord">
          <ac:chgData name="Siddharth Harisankar" userId="e0bcdbd0-38b1-4f04-904b-878237e0514e" providerId="ADAL" clId="{C60A4992-8F66-4C9B-8329-6D165390F93B}" dt="2020-03-11T18:17:00.705" v="3611"/>
          <ac:spMkLst>
            <pc:docMk/>
            <pc:sldMk cId="3970951549" sldId="603"/>
            <ac:spMk id="99" creationId="{94467837-9FEE-4C16-8ABF-CF8411319FAA}"/>
          </ac:spMkLst>
        </pc:spChg>
        <pc:spChg chg="add mod ord">
          <ac:chgData name="Siddharth Harisankar" userId="e0bcdbd0-38b1-4f04-904b-878237e0514e" providerId="ADAL" clId="{C60A4992-8F66-4C9B-8329-6D165390F93B}" dt="2020-03-11T18:17:00.707" v="3615"/>
          <ac:spMkLst>
            <pc:docMk/>
            <pc:sldMk cId="3970951549" sldId="603"/>
            <ac:spMk id="100" creationId="{0EF59849-5D30-42E3-A932-2C6C358C7B2D}"/>
          </ac:spMkLst>
        </pc:spChg>
        <pc:spChg chg="add mod">
          <ac:chgData name="Siddharth Harisankar" userId="e0bcdbd0-38b1-4f04-904b-878237e0514e" providerId="ADAL" clId="{C60A4992-8F66-4C9B-8329-6D165390F93B}" dt="2020-03-11T18:17:00.702" v="3607"/>
          <ac:spMkLst>
            <pc:docMk/>
            <pc:sldMk cId="3970951549" sldId="603"/>
            <ac:spMk id="101" creationId="{1741DBD1-D3EF-4428-981B-E865420C2566}"/>
          </ac:spMkLst>
        </pc:spChg>
        <pc:spChg chg="add mod ord">
          <ac:chgData name="Siddharth Harisankar" userId="e0bcdbd0-38b1-4f04-904b-878237e0514e" providerId="ADAL" clId="{C60A4992-8F66-4C9B-8329-6D165390F93B}" dt="2020-03-11T18:17:00.708" v="3617"/>
          <ac:spMkLst>
            <pc:docMk/>
            <pc:sldMk cId="3970951549" sldId="603"/>
            <ac:spMk id="102" creationId="{6F7BAB38-F77F-4DA0-BA64-D7433A650090}"/>
          </ac:spMkLst>
        </pc:spChg>
        <pc:spChg chg="add mod ord">
          <ac:chgData name="Siddharth Harisankar" userId="e0bcdbd0-38b1-4f04-904b-878237e0514e" providerId="ADAL" clId="{C60A4992-8F66-4C9B-8329-6D165390F93B}" dt="2020-03-11T18:17:00.709" v="3619"/>
          <ac:spMkLst>
            <pc:docMk/>
            <pc:sldMk cId="3970951549" sldId="603"/>
            <ac:spMk id="103" creationId="{DCB61413-347B-4283-8474-979256D8B7E5}"/>
          </ac:spMkLst>
        </pc:spChg>
        <pc:spChg chg="add mod">
          <ac:chgData name="Siddharth Harisankar" userId="e0bcdbd0-38b1-4f04-904b-878237e0514e" providerId="ADAL" clId="{C60A4992-8F66-4C9B-8329-6D165390F93B}" dt="2020-03-11T18:17:00.701" v="3605"/>
          <ac:spMkLst>
            <pc:docMk/>
            <pc:sldMk cId="3970951549" sldId="603"/>
            <ac:spMk id="104" creationId="{E9BFCD65-0849-47EB-AD30-0DCF8F871297}"/>
          </ac:spMkLst>
        </pc:spChg>
        <pc:spChg chg="add mod">
          <ac:chgData name="Siddharth Harisankar" userId="e0bcdbd0-38b1-4f04-904b-878237e0514e" providerId="ADAL" clId="{C60A4992-8F66-4C9B-8329-6D165390F93B}" dt="2020-03-11T18:17:00.720" v="3638"/>
          <ac:spMkLst>
            <pc:docMk/>
            <pc:sldMk cId="3970951549" sldId="603"/>
            <ac:spMk id="106" creationId="{C67B7833-225D-4CB9-A73A-1443F1A1AA8F}"/>
          </ac:spMkLst>
        </pc:spChg>
        <pc:graphicFrameChg chg="mod ord">
          <ac:chgData name="Siddharth Harisankar" userId="e0bcdbd0-38b1-4f04-904b-878237e0514e" providerId="ADAL" clId="{C60A4992-8F66-4C9B-8329-6D165390F93B}" dt="2020-03-11T18:17:12.011" v="4182"/>
          <ac:graphicFrameMkLst>
            <pc:docMk/>
            <pc:sldMk cId="3970951549" sldId="603"/>
            <ac:graphicFrameMk id="4" creationId="{A9F9C243-F6F9-4217-BE94-EDB2B74004C1}"/>
          </ac:graphicFrameMkLst>
        </pc:graphicFrameChg>
        <pc:graphicFrameChg chg="del">
          <ac:chgData name="Siddharth Harisankar" userId="e0bcdbd0-38b1-4f04-904b-878237e0514e" providerId="ADAL" clId="{C60A4992-8F66-4C9B-8329-6D165390F93B}" dt="2020-03-11T17:50:46.565" v="308"/>
          <ac:graphicFrameMkLst>
            <pc:docMk/>
            <pc:sldMk cId="3970951549" sldId="603"/>
            <ac:graphicFrameMk id="81" creationId="{F58B46B8-D9E0-4EF5-B60C-5807A134BE4A}"/>
          </ac:graphicFrameMkLst>
        </pc:graphicFrameChg>
        <pc:graphicFrameChg chg="add del mod">
          <ac:chgData name="Siddharth Harisankar" userId="e0bcdbd0-38b1-4f04-904b-878237e0514e" providerId="ADAL" clId="{C60A4992-8F66-4C9B-8329-6D165390F93B}" dt="2020-03-11T17:50:53.437" v="504"/>
          <ac:graphicFrameMkLst>
            <pc:docMk/>
            <pc:sldMk cId="3970951549" sldId="603"/>
            <ac:graphicFrameMk id="83" creationId="{B55B31B4-B67F-440F-A2DA-437D01937CB7}"/>
          </ac:graphicFrameMkLst>
        </pc:graphicFrameChg>
        <pc:graphicFrameChg chg="add del mod">
          <ac:chgData name="Siddharth Harisankar" userId="e0bcdbd0-38b1-4f04-904b-878237e0514e" providerId="ADAL" clId="{C60A4992-8F66-4C9B-8329-6D165390F93B}" dt="2020-03-11T17:51:01.244" v="754"/>
          <ac:graphicFrameMkLst>
            <pc:docMk/>
            <pc:sldMk cId="3970951549" sldId="603"/>
            <ac:graphicFrameMk id="84" creationId="{0D0C0B63-D45E-4CE2-80AD-504484D95056}"/>
          </ac:graphicFrameMkLst>
        </pc:graphicFrameChg>
        <pc:graphicFrameChg chg="add del mod">
          <ac:chgData name="Siddharth Harisankar" userId="e0bcdbd0-38b1-4f04-904b-878237e0514e" providerId="ADAL" clId="{C60A4992-8F66-4C9B-8329-6D165390F93B}" dt="2020-03-11T17:51:07.051" v="874"/>
          <ac:graphicFrameMkLst>
            <pc:docMk/>
            <pc:sldMk cId="3970951549" sldId="603"/>
            <ac:graphicFrameMk id="85" creationId="{80C4C93F-86E4-4591-828A-3451D98BE664}"/>
          </ac:graphicFrameMkLst>
        </pc:graphicFrameChg>
        <pc:graphicFrameChg chg="add del mod">
          <ac:chgData name="Siddharth Harisankar" userId="e0bcdbd0-38b1-4f04-904b-878237e0514e" providerId="ADAL" clId="{C60A4992-8F66-4C9B-8329-6D165390F93B}" dt="2020-03-11T17:51:13.817" v="1070"/>
          <ac:graphicFrameMkLst>
            <pc:docMk/>
            <pc:sldMk cId="3970951549" sldId="603"/>
            <ac:graphicFrameMk id="86" creationId="{F2A6B529-22ED-4549-8409-2429AA8BA41B}"/>
          </ac:graphicFrameMkLst>
        </pc:graphicFrameChg>
        <pc:graphicFrameChg chg="add del mod">
          <ac:chgData name="Siddharth Harisankar" userId="e0bcdbd0-38b1-4f04-904b-878237e0514e" providerId="ADAL" clId="{C60A4992-8F66-4C9B-8329-6D165390F93B}" dt="2020-03-11T17:51:18.639" v="1320"/>
          <ac:graphicFrameMkLst>
            <pc:docMk/>
            <pc:sldMk cId="3970951549" sldId="603"/>
            <ac:graphicFrameMk id="87" creationId="{A81BC81D-6A45-4E25-8DF5-886AA8D7FA9C}"/>
          </ac:graphicFrameMkLst>
        </pc:graphicFrameChg>
        <pc:graphicFrameChg chg="add del mod">
          <ac:chgData name="Siddharth Harisankar" userId="e0bcdbd0-38b1-4f04-904b-878237e0514e" providerId="ADAL" clId="{C60A4992-8F66-4C9B-8329-6D165390F93B}" dt="2020-03-11T17:51:35.535" v="1539"/>
          <ac:graphicFrameMkLst>
            <pc:docMk/>
            <pc:sldMk cId="3970951549" sldId="603"/>
            <ac:graphicFrameMk id="88" creationId="{989677F5-FA82-444E-B4E4-FA6C14699187}"/>
          </ac:graphicFrameMkLst>
        </pc:graphicFrameChg>
        <pc:graphicFrameChg chg="add del mod">
          <ac:chgData name="Siddharth Harisankar" userId="e0bcdbd0-38b1-4f04-904b-878237e0514e" providerId="ADAL" clId="{C60A4992-8F66-4C9B-8329-6D165390F93B}" dt="2020-03-11T17:51:38.837" v="1922"/>
          <ac:graphicFrameMkLst>
            <pc:docMk/>
            <pc:sldMk cId="3970951549" sldId="603"/>
            <ac:graphicFrameMk id="89" creationId="{796E0380-1966-4352-AAE5-1006FA9663E7}"/>
          </ac:graphicFrameMkLst>
        </pc:graphicFrameChg>
        <pc:graphicFrameChg chg="add del mod">
          <ac:chgData name="Siddharth Harisankar" userId="e0bcdbd0-38b1-4f04-904b-878237e0514e" providerId="ADAL" clId="{C60A4992-8F66-4C9B-8329-6D165390F93B}" dt="2020-03-11T17:51:40.477" v="2012"/>
          <ac:graphicFrameMkLst>
            <pc:docMk/>
            <pc:sldMk cId="3970951549" sldId="603"/>
            <ac:graphicFrameMk id="90" creationId="{FA9E392C-455F-4A62-9A33-C24DE59C7926}"/>
          </ac:graphicFrameMkLst>
        </pc:graphicFrameChg>
        <pc:graphicFrameChg chg="add del mod">
          <ac:chgData name="Siddharth Harisankar" userId="e0bcdbd0-38b1-4f04-904b-878237e0514e" providerId="ADAL" clId="{C60A4992-8F66-4C9B-8329-6D165390F93B}" dt="2020-03-11T17:52:47.214" v="2231"/>
          <ac:graphicFrameMkLst>
            <pc:docMk/>
            <pc:sldMk cId="3970951549" sldId="603"/>
            <ac:graphicFrameMk id="91" creationId="{FF0373FC-F1ED-4DA7-8976-6004301C3197}"/>
          </ac:graphicFrameMkLst>
        </pc:graphicFrameChg>
        <pc:graphicFrameChg chg="add del mod">
          <ac:chgData name="Siddharth Harisankar" userId="e0bcdbd0-38b1-4f04-904b-878237e0514e" providerId="ADAL" clId="{C60A4992-8F66-4C9B-8329-6D165390F93B}" dt="2020-03-11T17:52:49.606" v="2321"/>
          <ac:graphicFrameMkLst>
            <pc:docMk/>
            <pc:sldMk cId="3970951549" sldId="603"/>
            <ac:graphicFrameMk id="92" creationId="{79C00263-CD18-43FA-A231-D95BD074218B}"/>
          </ac:graphicFrameMkLst>
        </pc:graphicFrameChg>
        <pc:graphicFrameChg chg="add del mod">
          <ac:chgData name="Siddharth Harisankar" userId="e0bcdbd0-38b1-4f04-904b-878237e0514e" providerId="ADAL" clId="{C60A4992-8F66-4C9B-8329-6D165390F93B}" dt="2020-03-11T18:16:32.089" v="2682"/>
          <ac:graphicFrameMkLst>
            <pc:docMk/>
            <pc:sldMk cId="3970951549" sldId="603"/>
            <ac:graphicFrameMk id="93" creationId="{DE6885A8-671C-4BD7-9BCC-D3D275884CAC}"/>
          </ac:graphicFrameMkLst>
        </pc:graphicFrameChg>
        <pc:graphicFrameChg chg="add del mod">
          <ac:chgData name="Siddharth Harisankar" userId="e0bcdbd0-38b1-4f04-904b-878237e0514e" providerId="ADAL" clId="{C60A4992-8F66-4C9B-8329-6D165390F93B}" dt="2020-03-11T18:16:36.784" v="2949"/>
          <ac:graphicFrameMkLst>
            <pc:docMk/>
            <pc:sldMk cId="3970951549" sldId="603"/>
            <ac:graphicFrameMk id="94" creationId="{156EEA92-E157-4789-9A99-FC769072F559}"/>
          </ac:graphicFrameMkLst>
        </pc:graphicFrameChg>
        <pc:graphicFrameChg chg="add del mod">
          <ac:chgData name="Siddharth Harisankar" userId="e0bcdbd0-38b1-4f04-904b-878237e0514e" providerId="ADAL" clId="{C60A4992-8F66-4C9B-8329-6D165390F93B}" dt="2020-03-11T18:16:54.354" v="3452"/>
          <ac:graphicFrameMkLst>
            <pc:docMk/>
            <pc:sldMk cId="3970951549" sldId="603"/>
            <ac:graphicFrameMk id="95" creationId="{237291CB-0C82-48F4-9A05-9BC377B08F25}"/>
          </ac:graphicFrameMkLst>
        </pc:graphicFrameChg>
        <pc:graphicFrameChg chg="add del mod">
          <ac:chgData name="Siddharth Harisankar" userId="e0bcdbd0-38b1-4f04-904b-878237e0514e" providerId="ADAL" clId="{C60A4992-8F66-4C9B-8329-6D165390F93B}" dt="2020-03-11T18:17:00.673" v="3596"/>
          <ac:graphicFrameMkLst>
            <pc:docMk/>
            <pc:sldMk cId="3970951549" sldId="603"/>
            <ac:graphicFrameMk id="105" creationId="{74996722-4DF0-4D08-BC14-5B9254F02122}"/>
          </ac:graphicFrameMkLst>
        </pc:graphicFrameChg>
        <pc:graphicFrameChg chg="add mod">
          <ac:chgData name="Siddharth Harisankar" userId="e0bcdbd0-38b1-4f04-904b-878237e0514e" providerId="ADAL" clId="{C60A4992-8F66-4C9B-8329-6D165390F93B}" dt="2020-03-11T18:17:00.700" v="3604"/>
          <ac:graphicFrameMkLst>
            <pc:docMk/>
            <pc:sldMk cId="3970951549" sldId="603"/>
            <ac:graphicFrameMk id="107" creationId="{3A2C1564-7A48-4374-A631-2CC92CC1EE97}"/>
          </ac:graphicFrameMkLst>
        </pc:graphicFrameChg>
        <pc:picChg chg="mod ord">
          <ac:chgData name="Siddharth Harisankar" userId="e0bcdbd0-38b1-4f04-904b-878237e0514e" providerId="ADAL" clId="{C60A4992-8F66-4C9B-8329-6D165390F93B}" dt="2020-03-11T18:17:00.748" v="3662"/>
          <ac:picMkLst>
            <pc:docMk/>
            <pc:sldMk cId="3970951549" sldId="603"/>
            <ac:picMk id="80" creationId="{BC267C1D-D843-4D9A-8D63-B215485810EC}"/>
          </ac:picMkLst>
        </pc:picChg>
        <pc:picChg chg="mod ord">
          <ac:chgData name="Siddharth Harisankar" userId="e0bcdbd0-38b1-4f04-904b-878237e0514e" providerId="ADAL" clId="{C60A4992-8F66-4C9B-8329-6D165390F93B}" dt="2020-03-11T18:17:00.751" v="3664"/>
          <ac:picMkLst>
            <pc:docMk/>
            <pc:sldMk cId="3970951549" sldId="603"/>
            <ac:picMk id="82" creationId="{F795E2FA-131A-469D-8F38-B21974A3A160}"/>
          </ac:picMkLst>
        </pc:picChg>
        <pc:cxnChg chg="del mod ord">
          <ac:chgData name="Siddharth Harisankar" userId="e0bcdbd0-38b1-4f04-904b-878237e0514e" providerId="ADAL" clId="{C60A4992-8F66-4C9B-8329-6D165390F93B}" dt="2020-03-11T18:17:00.579" v="3552"/>
          <ac:cxnSpMkLst>
            <pc:docMk/>
            <pc:sldMk cId="3970951549" sldId="603"/>
            <ac:cxnSpMk id="42" creationId="{82769890-FBDD-4F78-91A5-0C7D3AF4CA34}"/>
          </ac:cxnSpMkLst>
        </pc:cxnChg>
        <pc:cxnChg chg="del mod ord">
          <ac:chgData name="Siddharth Harisankar" userId="e0bcdbd0-38b1-4f04-904b-878237e0514e" providerId="ADAL" clId="{C60A4992-8F66-4C9B-8329-6D165390F93B}" dt="2020-03-11T18:17:00.576" v="3550"/>
          <ac:cxnSpMkLst>
            <pc:docMk/>
            <pc:sldMk cId="3970951549" sldId="603"/>
            <ac:cxnSpMk id="43" creationId="{F778320F-51DC-4C9E-9276-C5AA177AA15A}"/>
          </ac:cxnSpMkLst>
        </pc:cxnChg>
        <pc:cxnChg chg="del mod ord">
          <ac:chgData name="Siddharth Harisankar" userId="e0bcdbd0-38b1-4f04-904b-878237e0514e" providerId="ADAL" clId="{C60A4992-8F66-4C9B-8329-6D165390F93B}" dt="2020-03-11T18:17:00.574" v="3548"/>
          <ac:cxnSpMkLst>
            <pc:docMk/>
            <pc:sldMk cId="3970951549" sldId="603"/>
            <ac:cxnSpMk id="44" creationId="{3B0CA3DD-483B-40BD-99D2-B79C0194944C}"/>
          </ac:cxnSpMkLst>
        </pc:cxnChg>
        <pc:cxnChg chg="mod ord">
          <ac:chgData name="Siddharth Harisankar" userId="e0bcdbd0-38b1-4f04-904b-878237e0514e" providerId="ADAL" clId="{C60A4992-8F66-4C9B-8329-6D165390F93B}" dt="2020-03-11T18:17:00.710" v="3621"/>
          <ac:cxnSpMkLst>
            <pc:docMk/>
            <pc:sldMk cId="3970951549" sldId="603"/>
            <ac:cxnSpMk id="45" creationId="{0774C5DD-D75D-44A2-BE2D-BA6571A98F1B}"/>
          </ac:cxnSpMkLst>
        </pc:cxnChg>
        <pc:cxnChg chg="mod ord">
          <ac:chgData name="Siddharth Harisankar" userId="e0bcdbd0-38b1-4f04-904b-878237e0514e" providerId="ADAL" clId="{C60A4992-8F66-4C9B-8329-6D165390F93B}" dt="2020-03-11T18:17:00.712" v="3625"/>
          <ac:cxnSpMkLst>
            <pc:docMk/>
            <pc:sldMk cId="3970951549" sldId="603"/>
            <ac:cxnSpMk id="46" creationId="{6ABB37E2-90A7-4810-A217-FB8147862489}"/>
          </ac:cxnSpMkLst>
        </pc:cxnChg>
        <pc:cxnChg chg="mod ord">
          <ac:chgData name="Siddharth Harisankar" userId="e0bcdbd0-38b1-4f04-904b-878237e0514e" providerId="ADAL" clId="{C60A4992-8F66-4C9B-8329-6D165390F93B}" dt="2020-03-11T18:17:00.711" v="3623"/>
          <ac:cxnSpMkLst>
            <pc:docMk/>
            <pc:sldMk cId="3970951549" sldId="603"/>
            <ac:cxnSpMk id="47" creationId="{C79D5945-38C1-4D43-A76A-52E73B606542}"/>
          </ac:cxnSpMkLst>
        </pc:cxnChg>
        <pc:cxnChg chg="mod ord">
          <ac:chgData name="Siddharth Harisankar" userId="e0bcdbd0-38b1-4f04-904b-878237e0514e" providerId="ADAL" clId="{C60A4992-8F66-4C9B-8329-6D165390F93B}" dt="2020-03-11T18:17:00.716" v="3631"/>
          <ac:cxnSpMkLst>
            <pc:docMk/>
            <pc:sldMk cId="3970951549" sldId="603"/>
            <ac:cxnSpMk id="48" creationId="{E0E39722-425A-4A64-9AAA-B64B85DDB7F9}"/>
          </ac:cxnSpMkLst>
        </pc:cxnChg>
        <pc:cxnChg chg="mod ord">
          <ac:chgData name="Siddharth Harisankar" userId="e0bcdbd0-38b1-4f04-904b-878237e0514e" providerId="ADAL" clId="{C60A4992-8F66-4C9B-8329-6D165390F93B}" dt="2020-03-11T18:17:00.715" v="3629"/>
          <ac:cxnSpMkLst>
            <pc:docMk/>
            <pc:sldMk cId="3970951549" sldId="603"/>
            <ac:cxnSpMk id="49" creationId="{53600CEC-7CFC-4C4A-A7AE-29B28DF9F5F8}"/>
          </ac:cxnSpMkLst>
        </pc:cxnChg>
        <pc:cxnChg chg="mod ord">
          <ac:chgData name="Siddharth Harisankar" userId="e0bcdbd0-38b1-4f04-904b-878237e0514e" providerId="ADAL" clId="{C60A4992-8F66-4C9B-8329-6D165390F93B}" dt="2020-03-11T18:17:00.713" v="3627"/>
          <ac:cxnSpMkLst>
            <pc:docMk/>
            <pc:sldMk cId="3970951549" sldId="603"/>
            <ac:cxnSpMk id="50" creationId="{D4043434-A5DA-46DC-B5CB-2089079A191D}"/>
          </ac:cxnSpMkLst>
        </pc:cxnChg>
        <pc:cxnChg chg="mod ord">
          <ac:chgData name="Siddharth Harisankar" userId="e0bcdbd0-38b1-4f04-904b-878237e0514e" providerId="ADAL" clId="{C60A4992-8F66-4C9B-8329-6D165390F93B}" dt="2020-03-11T18:17:00.719" v="3637"/>
          <ac:cxnSpMkLst>
            <pc:docMk/>
            <pc:sldMk cId="3970951549" sldId="603"/>
            <ac:cxnSpMk id="51" creationId="{3C8E295C-9F8D-4F85-A7FB-198FB2B526CC}"/>
          </ac:cxnSpMkLst>
        </pc:cxnChg>
        <pc:cxnChg chg="mod ord">
          <ac:chgData name="Siddharth Harisankar" userId="e0bcdbd0-38b1-4f04-904b-878237e0514e" providerId="ADAL" clId="{C60A4992-8F66-4C9B-8329-6D165390F93B}" dt="2020-03-11T18:17:00.718" v="3635"/>
          <ac:cxnSpMkLst>
            <pc:docMk/>
            <pc:sldMk cId="3970951549" sldId="603"/>
            <ac:cxnSpMk id="52" creationId="{9F5D826C-D181-4255-B499-8975046E2A9A}"/>
          </ac:cxnSpMkLst>
        </pc:cxnChg>
        <pc:cxnChg chg="mod ord">
          <ac:chgData name="Siddharth Harisankar" userId="e0bcdbd0-38b1-4f04-904b-878237e0514e" providerId="ADAL" clId="{C60A4992-8F66-4C9B-8329-6D165390F93B}" dt="2020-03-11T18:17:00.717" v="3633"/>
          <ac:cxnSpMkLst>
            <pc:docMk/>
            <pc:sldMk cId="3970951549" sldId="603"/>
            <ac:cxnSpMk id="53" creationId="{111F986F-BEFC-4531-B65B-7506055FE1AA}"/>
          </ac:cxnSpMkLst>
        </pc:cxnChg>
        <pc:cxnChg chg="del mod ord">
          <ac:chgData name="Siddharth Harisankar" userId="e0bcdbd0-38b1-4f04-904b-878237e0514e" providerId="ADAL" clId="{C60A4992-8F66-4C9B-8329-6D165390F93B}" dt="2020-03-11T18:17:00.569" v="3542"/>
          <ac:cxnSpMkLst>
            <pc:docMk/>
            <pc:sldMk cId="3970951549" sldId="603"/>
            <ac:cxnSpMk id="54" creationId="{E78CC510-0AF6-4C3A-9F21-01B57601CCAA}"/>
          </ac:cxnSpMkLst>
        </pc:cxnChg>
        <pc:cxnChg chg="del mod ord">
          <ac:chgData name="Siddharth Harisankar" userId="e0bcdbd0-38b1-4f04-904b-878237e0514e" providerId="ADAL" clId="{C60A4992-8F66-4C9B-8329-6D165390F93B}" dt="2020-03-11T18:17:00.570" v="3544"/>
          <ac:cxnSpMkLst>
            <pc:docMk/>
            <pc:sldMk cId="3970951549" sldId="603"/>
            <ac:cxnSpMk id="55" creationId="{12A417BF-E380-472D-B8BA-3325DBB1D40E}"/>
          </ac:cxnSpMkLst>
        </pc:cxnChg>
        <pc:cxnChg chg="del mod ord">
          <ac:chgData name="Siddharth Harisankar" userId="e0bcdbd0-38b1-4f04-904b-878237e0514e" providerId="ADAL" clId="{C60A4992-8F66-4C9B-8329-6D165390F93B}" dt="2020-03-11T18:17:00.565" v="3540"/>
          <ac:cxnSpMkLst>
            <pc:docMk/>
            <pc:sldMk cId="3970951549" sldId="603"/>
            <ac:cxnSpMk id="56" creationId="{D6EA254A-8C0A-4E0D-BE6C-033573C7015C}"/>
          </ac:cxnSpMkLst>
        </pc:cxnChg>
      </pc:sldChg>
      <pc:sldChg chg="addSp delSp modSp add">
        <pc:chgData name="Siddharth Harisankar" userId="e0bcdbd0-38b1-4f04-904b-878237e0514e" providerId="ADAL" clId="{C60A4992-8F66-4C9B-8329-6D165390F93B}" dt="2020-03-11T18:18:16.477" v="5196"/>
        <pc:sldMkLst>
          <pc:docMk/>
          <pc:sldMk cId="2648569777" sldId="708"/>
        </pc:sldMkLst>
        <pc:spChg chg="mod ord">
          <ac:chgData name="Siddharth Harisankar" userId="e0bcdbd0-38b1-4f04-904b-878237e0514e" providerId="ADAL" clId="{C60A4992-8F66-4C9B-8329-6D165390F93B}" dt="2020-03-11T18:18:16.449" v="5133"/>
          <ac:spMkLst>
            <pc:docMk/>
            <pc:sldMk cId="2648569777" sldId="708"/>
            <ac:spMk id="2" creationId="{51727749-65AB-4FAC-AC8A-78D01F343C68}"/>
          </ac:spMkLst>
        </pc:spChg>
        <pc:spChg chg="add mod ord">
          <ac:chgData name="Siddharth Harisankar" userId="e0bcdbd0-38b1-4f04-904b-878237e0514e" providerId="ADAL" clId="{C60A4992-8F66-4C9B-8329-6D165390F93B}" dt="2020-03-11T18:18:16.449" v="5139"/>
          <ac:spMkLst>
            <pc:docMk/>
            <pc:sldMk cId="2648569777" sldId="708"/>
            <ac:spMk id="3" creationId="{89BE30C4-5FCA-4719-8DE4-8E6F9B82C75D}"/>
          </ac:spMkLst>
        </pc:spChg>
        <pc:spChg chg="add mod ord">
          <ac:chgData name="Siddharth Harisankar" userId="e0bcdbd0-38b1-4f04-904b-878237e0514e" providerId="ADAL" clId="{C60A4992-8F66-4C9B-8329-6D165390F93B}" dt="2020-03-11T18:18:16.453" v="5141"/>
          <ac:spMkLst>
            <pc:docMk/>
            <pc:sldMk cId="2648569777" sldId="708"/>
            <ac:spMk id="5" creationId="{20C7796C-0421-47BD-82E5-B353E5F8664D}"/>
          </ac:spMkLst>
        </pc:spChg>
        <pc:spChg chg="add mod">
          <ac:chgData name="Siddharth Harisankar" userId="e0bcdbd0-38b1-4f04-904b-878237e0514e" providerId="ADAL" clId="{C60A4992-8F66-4C9B-8329-6D165390F93B}" dt="2020-03-11T18:18:16.449" v="5135"/>
          <ac:spMkLst>
            <pc:docMk/>
            <pc:sldMk cId="2648569777" sldId="708"/>
            <ac:spMk id="6" creationId="{8B8DA03F-8830-4370-88CF-8209F25313F8}"/>
          </ac:spMkLst>
        </pc:spChg>
        <pc:spChg chg="add mod ord">
          <ac:chgData name="Siddharth Harisankar" userId="e0bcdbd0-38b1-4f04-904b-878237e0514e" providerId="ADAL" clId="{C60A4992-8F66-4C9B-8329-6D165390F93B}" dt="2020-03-11T18:18:16.454" v="5145"/>
          <ac:spMkLst>
            <pc:docMk/>
            <pc:sldMk cId="2648569777" sldId="708"/>
            <ac:spMk id="7" creationId="{225388C0-F09A-49BE-A030-48B92AFE28C2}"/>
          </ac:spMkLst>
        </pc:spChg>
        <pc:spChg chg="add mod ord">
          <ac:chgData name="Siddharth Harisankar" userId="e0bcdbd0-38b1-4f04-904b-878237e0514e" providerId="ADAL" clId="{C60A4992-8F66-4C9B-8329-6D165390F93B}" dt="2020-03-11T18:18:16.454" v="5147"/>
          <ac:spMkLst>
            <pc:docMk/>
            <pc:sldMk cId="2648569777" sldId="708"/>
            <ac:spMk id="8" creationId="{9ECAE0FE-A28B-4A27-B5AB-B87D1639DF82}"/>
          </ac:spMkLst>
        </pc:spChg>
        <pc:spChg chg="add mod">
          <ac:chgData name="Siddharth Harisankar" userId="e0bcdbd0-38b1-4f04-904b-878237e0514e" providerId="ADAL" clId="{C60A4992-8F66-4C9B-8329-6D165390F93B}" dt="2020-03-11T18:18:16.449" v="5136"/>
          <ac:spMkLst>
            <pc:docMk/>
            <pc:sldMk cId="2648569777" sldId="708"/>
            <ac:spMk id="9" creationId="{2A585A4C-C143-4618-A168-D629A5373BD9}"/>
          </ac:spMkLst>
        </pc:spChg>
        <pc:spChg chg="add mod ord">
          <ac:chgData name="Siddharth Harisankar" userId="e0bcdbd0-38b1-4f04-904b-878237e0514e" providerId="ADAL" clId="{C60A4992-8F66-4C9B-8329-6D165390F93B}" dt="2020-03-11T18:18:16.453" v="5143"/>
          <ac:spMkLst>
            <pc:docMk/>
            <pc:sldMk cId="2648569777" sldId="708"/>
            <ac:spMk id="10" creationId="{A7713434-9D68-458A-BD44-449FF6EB801E}"/>
          </ac:spMkLst>
        </pc:spChg>
        <pc:spChg chg="add mod ord">
          <ac:chgData name="Siddharth Harisankar" userId="e0bcdbd0-38b1-4f04-904b-878237e0514e" providerId="ADAL" clId="{C60A4992-8F66-4C9B-8329-6D165390F93B}" dt="2020-03-11T18:18:16.455" v="5149"/>
          <ac:spMkLst>
            <pc:docMk/>
            <pc:sldMk cId="2648569777" sldId="708"/>
            <ac:spMk id="11" creationId="{F21F7D26-5250-40BF-8199-6F2E9F907370}"/>
          </ac:spMkLst>
        </pc:spChg>
        <pc:spChg chg="add mod">
          <ac:chgData name="Siddharth Harisankar" userId="e0bcdbd0-38b1-4f04-904b-878237e0514e" providerId="ADAL" clId="{C60A4992-8F66-4C9B-8329-6D165390F93B}" dt="2020-03-11T18:18:16.449" v="5137"/>
          <ac:spMkLst>
            <pc:docMk/>
            <pc:sldMk cId="2648569777" sldId="708"/>
            <ac:spMk id="12" creationId="{33747B6D-B6F7-4932-AFE6-4974930DE1C6}"/>
          </ac:spMkLst>
        </pc:spChg>
        <pc:spChg chg="del">
          <ac:chgData name="Siddharth Harisankar" userId="e0bcdbd0-38b1-4f04-904b-878237e0514e" providerId="ADAL" clId="{C60A4992-8F66-4C9B-8329-6D165390F93B}" dt="2020-03-11T18:17:11.330" v="3789"/>
          <ac:spMkLst>
            <pc:docMk/>
            <pc:sldMk cId="2648569777" sldId="708"/>
            <ac:spMk id="40" creationId="{4545458E-F9BC-43AA-A558-B0EB38E8EC74}"/>
          </ac:spMkLst>
        </pc:spChg>
        <pc:spChg chg="del">
          <ac:chgData name="Siddharth Harisankar" userId="e0bcdbd0-38b1-4f04-904b-878237e0514e" providerId="ADAL" clId="{C60A4992-8F66-4C9B-8329-6D165390F93B}" dt="2020-03-11T18:17:11.346" v="3800"/>
          <ac:spMkLst>
            <pc:docMk/>
            <pc:sldMk cId="2648569777" sldId="708"/>
            <ac:spMk id="41" creationId="{8AB0CDC5-21DC-4E96-8988-F3DAB078C6E6}"/>
          </ac:spMkLst>
        </pc:spChg>
        <pc:spChg chg="add del mod">
          <ac:chgData name="Siddharth Harisankar" userId="e0bcdbd0-38b1-4f04-904b-878237e0514e" providerId="ADAL" clId="{C60A4992-8F66-4C9B-8329-6D165390F93B}" dt="2020-03-11T18:17:11.325" v="3787"/>
          <ac:spMkLst>
            <pc:docMk/>
            <pc:sldMk cId="2648569777" sldId="708"/>
            <ac:spMk id="43" creationId="{20336270-65C1-46F9-9B04-D7B13B0D55B3}"/>
          </ac:spMkLst>
        </pc:spChg>
        <pc:spChg chg="add del mod">
          <ac:chgData name="Siddharth Harisankar" userId="e0bcdbd0-38b1-4f04-904b-878237e0514e" providerId="ADAL" clId="{C60A4992-8F66-4C9B-8329-6D165390F93B}" dt="2020-03-11T18:17:11.639" v="3940"/>
          <ac:spMkLst>
            <pc:docMk/>
            <pc:sldMk cId="2648569777" sldId="708"/>
            <ac:spMk id="54" creationId="{7395211F-D782-4095-AF9F-71B5F86E466E}"/>
          </ac:spMkLst>
        </pc:spChg>
        <pc:spChg chg="add del mod">
          <ac:chgData name="Siddharth Harisankar" userId="e0bcdbd0-38b1-4f04-904b-878237e0514e" providerId="ADAL" clId="{C60A4992-8F66-4C9B-8329-6D165390F93B}" dt="2020-03-11T18:17:11.746" v="3988"/>
          <ac:spMkLst>
            <pc:docMk/>
            <pc:sldMk cId="2648569777" sldId="708"/>
            <ac:spMk id="55" creationId="{303C0ABD-2C9C-4D61-AA06-66EC18E40194}"/>
          </ac:spMkLst>
        </pc:spChg>
        <pc:spChg chg="mod">
          <ac:chgData name="Siddharth Harisankar" userId="e0bcdbd0-38b1-4f04-904b-878237e0514e" providerId="ADAL" clId="{C60A4992-8F66-4C9B-8329-6D165390F93B}" dt="2020-03-11T18:18:16.463" v="5168"/>
          <ac:spMkLst>
            <pc:docMk/>
            <pc:sldMk cId="2648569777" sldId="708"/>
            <ac:spMk id="57" creationId="{82F87B6A-5743-438A-A5C3-D1A0CA52946D}"/>
          </ac:spMkLst>
        </pc:spChg>
        <pc:spChg chg="mod">
          <ac:chgData name="Siddharth Harisankar" userId="e0bcdbd0-38b1-4f04-904b-878237e0514e" providerId="ADAL" clId="{C60A4992-8F66-4C9B-8329-6D165390F93B}" dt="2020-03-11T18:18:16.464" v="5169"/>
          <ac:spMkLst>
            <pc:docMk/>
            <pc:sldMk cId="2648569777" sldId="708"/>
            <ac:spMk id="58" creationId="{EB0CDC31-655F-493E-89DD-86B3E7CB3C1F}"/>
          </ac:spMkLst>
        </pc:spChg>
        <pc:spChg chg="mod">
          <ac:chgData name="Siddharth Harisankar" userId="e0bcdbd0-38b1-4f04-904b-878237e0514e" providerId="ADAL" clId="{C60A4992-8F66-4C9B-8329-6D165390F93B}" dt="2020-03-11T18:18:16.464" v="5173"/>
          <ac:spMkLst>
            <pc:docMk/>
            <pc:sldMk cId="2648569777" sldId="708"/>
            <ac:spMk id="61" creationId="{4258C5E6-D9AA-4059-944F-DDD9964E6099}"/>
          </ac:spMkLst>
        </pc:spChg>
        <pc:spChg chg="mod">
          <ac:chgData name="Siddharth Harisankar" userId="e0bcdbd0-38b1-4f04-904b-878237e0514e" providerId="ADAL" clId="{C60A4992-8F66-4C9B-8329-6D165390F93B}" dt="2020-03-11T18:18:16.464" v="5171"/>
          <ac:spMkLst>
            <pc:docMk/>
            <pc:sldMk cId="2648569777" sldId="708"/>
            <ac:spMk id="62" creationId="{E32FA1B3-97C4-42A2-8BFE-0090219EFD4B}"/>
          </ac:spMkLst>
        </pc:spChg>
        <pc:spChg chg="mod">
          <ac:chgData name="Siddharth Harisankar" userId="e0bcdbd0-38b1-4f04-904b-878237e0514e" providerId="ADAL" clId="{C60A4992-8F66-4C9B-8329-6D165390F93B}" dt="2020-03-11T18:18:16.464" v="5172"/>
          <ac:spMkLst>
            <pc:docMk/>
            <pc:sldMk cId="2648569777" sldId="708"/>
            <ac:spMk id="63" creationId="{C7BA7B2B-1BE6-4633-BE08-1D854BDEFCE4}"/>
          </ac:spMkLst>
        </pc:spChg>
        <pc:spChg chg="add mod">
          <ac:chgData name="Siddharth Harisankar" userId="e0bcdbd0-38b1-4f04-904b-878237e0514e" providerId="ADAL" clId="{C60A4992-8F66-4C9B-8329-6D165390F93B}" dt="2020-03-11T18:18:16.464" v="5176"/>
          <ac:spMkLst>
            <pc:docMk/>
            <pc:sldMk cId="2648569777" sldId="708"/>
            <ac:spMk id="66" creationId="{FAD9F17C-1263-428A-A7AA-7C3B174172B6}"/>
          </ac:spMkLst>
        </pc:spChg>
        <pc:spChg chg="mod">
          <ac:chgData name="Siddharth Harisankar" userId="e0bcdbd0-38b1-4f04-904b-878237e0514e" providerId="ADAL" clId="{C60A4992-8F66-4C9B-8329-6D165390F93B}" dt="2020-03-11T18:18:16.464" v="5174"/>
          <ac:spMkLst>
            <pc:docMk/>
            <pc:sldMk cId="2648569777" sldId="708"/>
            <ac:spMk id="67" creationId="{2E53AAC5-50DA-415C-899B-19FAD66DEFDE}"/>
          </ac:spMkLst>
        </pc:spChg>
        <pc:spChg chg="mod ord">
          <ac:chgData name="Siddharth Harisankar" userId="e0bcdbd0-38b1-4f04-904b-878237e0514e" providerId="ADAL" clId="{C60A4992-8F66-4C9B-8329-6D165390F93B}" dt="2020-03-11T18:18:16.464" v="5178"/>
          <ac:spMkLst>
            <pc:docMk/>
            <pc:sldMk cId="2648569777" sldId="708"/>
            <ac:spMk id="70" creationId="{B9BF5547-1C7D-4105-B447-2B2CEB1118E6}"/>
          </ac:spMkLst>
        </pc:spChg>
        <pc:spChg chg="mod ord">
          <ac:chgData name="Siddharth Harisankar" userId="e0bcdbd0-38b1-4f04-904b-878237e0514e" providerId="ADAL" clId="{C60A4992-8F66-4C9B-8329-6D165390F93B}" dt="2020-03-11T18:18:16.468" v="5180"/>
          <ac:spMkLst>
            <pc:docMk/>
            <pc:sldMk cId="2648569777" sldId="708"/>
            <ac:spMk id="71" creationId="{1921944D-B765-4515-B7C7-5F1C64BEE53E}"/>
          </ac:spMkLst>
        </pc:spChg>
        <pc:spChg chg="mod ord">
          <ac:chgData name="Siddharth Harisankar" userId="e0bcdbd0-38b1-4f04-904b-878237e0514e" providerId="ADAL" clId="{C60A4992-8F66-4C9B-8329-6D165390F93B}" dt="2020-03-11T18:18:16.468" v="5182"/>
          <ac:spMkLst>
            <pc:docMk/>
            <pc:sldMk cId="2648569777" sldId="708"/>
            <ac:spMk id="72" creationId="{1A807318-7D0E-4218-BB9E-0775FD0290B9}"/>
          </ac:spMkLst>
        </pc:spChg>
        <pc:spChg chg="mod">
          <ac:chgData name="Siddharth Harisankar" userId="e0bcdbd0-38b1-4f04-904b-878237e0514e" providerId="ADAL" clId="{C60A4992-8F66-4C9B-8329-6D165390F93B}" dt="2020-03-11T18:18:16.469" v="5183"/>
          <ac:spMkLst>
            <pc:docMk/>
            <pc:sldMk cId="2648569777" sldId="708"/>
            <ac:spMk id="74" creationId="{76013FAE-76E0-40D4-AEF9-FBA27E169732}"/>
          </ac:spMkLst>
        </pc:spChg>
        <pc:spChg chg="mod">
          <ac:chgData name="Siddharth Harisankar" userId="e0bcdbd0-38b1-4f04-904b-878237e0514e" providerId="ADAL" clId="{C60A4992-8F66-4C9B-8329-6D165390F93B}" dt="2020-03-11T18:18:16.469" v="5184"/>
          <ac:spMkLst>
            <pc:docMk/>
            <pc:sldMk cId="2648569777" sldId="708"/>
            <ac:spMk id="75" creationId="{20A75E27-8A57-45EC-AB89-D85A3AC2D639}"/>
          </ac:spMkLst>
        </pc:spChg>
        <pc:spChg chg="mod">
          <ac:chgData name="Siddharth Harisankar" userId="e0bcdbd0-38b1-4f04-904b-878237e0514e" providerId="ADAL" clId="{C60A4992-8F66-4C9B-8329-6D165390F93B}" dt="2020-03-11T18:18:16.469" v="5185"/>
          <ac:spMkLst>
            <pc:docMk/>
            <pc:sldMk cId="2648569777" sldId="708"/>
            <ac:spMk id="76" creationId="{7D94126C-CA88-4BF7-8C83-16EF2182A803}"/>
          </ac:spMkLst>
        </pc:spChg>
        <pc:spChg chg="mod">
          <ac:chgData name="Siddharth Harisankar" userId="e0bcdbd0-38b1-4f04-904b-878237e0514e" providerId="ADAL" clId="{C60A4992-8F66-4C9B-8329-6D165390F93B}" dt="2020-03-11T18:18:16.469" v="5186"/>
          <ac:spMkLst>
            <pc:docMk/>
            <pc:sldMk cId="2648569777" sldId="708"/>
            <ac:spMk id="77" creationId="{8672DFB2-2D77-47FC-96FF-F5A9F06792F5}"/>
          </ac:spMkLst>
        </pc:spChg>
        <pc:spChg chg="mod ord">
          <ac:chgData name="Siddharth Harisankar" userId="e0bcdbd0-38b1-4f04-904b-878237e0514e" providerId="ADAL" clId="{C60A4992-8F66-4C9B-8329-6D165390F93B}" dt="2020-03-11T18:18:16.469" v="5188"/>
          <ac:spMkLst>
            <pc:docMk/>
            <pc:sldMk cId="2648569777" sldId="708"/>
            <ac:spMk id="78" creationId="{BC1BB4AC-582E-450D-83B8-572E8B7E8B50}"/>
          </ac:spMkLst>
        </pc:spChg>
        <pc:spChg chg="mod ord">
          <ac:chgData name="Siddharth Harisankar" userId="e0bcdbd0-38b1-4f04-904b-878237e0514e" providerId="ADAL" clId="{C60A4992-8F66-4C9B-8329-6D165390F93B}" dt="2020-03-11T18:18:16.472" v="5190"/>
          <ac:spMkLst>
            <pc:docMk/>
            <pc:sldMk cId="2648569777" sldId="708"/>
            <ac:spMk id="79" creationId="{01563A8F-7288-41B8-A24C-9F5DAED2E0BB}"/>
          </ac:spMkLst>
        </pc:spChg>
        <pc:spChg chg="mod">
          <ac:chgData name="Siddharth Harisankar" userId="e0bcdbd0-38b1-4f04-904b-878237e0514e" providerId="ADAL" clId="{C60A4992-8F66-4C9B-8329-6D165390F93B}" dt="2020-03-11T18:18:16.464" v="5175"/>
          <ac:spMkLst>
            <pc:docMk/>
            <pc:sldMk cId="2648569777" sldId="708"/>
            <ac:spMk id="96" creationId="{13CED523-D497-4AE4-9D99-FFB688D5A777}"/>
          </ac:spMkLst>
        </pc:spChg>
        <pc:spChg chg="mod">
          <ac:chgData name="Siddharth Harisankar" userId="e0bcdbd0-38b1-4f04-904b-878237e0514e" providerId="ADAL" clId="{C60A4992-8F66-4C9B-8329-6D165390F93B}" dt="2020-03-11T18:18:16.464" v="5170"/>
          <ac:spMkLst>
            <pc:docMk/>
            <pc:sldMk cId="2648569777" sldId="708"/>
            <ac:spMk id="97" creationId="{85937C68-D38C-4CF6-AABD-37159EF38468}"/>
          </ac:spMkLst>
        </pc:spChg>
        <pc:spChg chg="del">
          <ac:chgData name="Siddharth Harisankar" userId="e0bcdbd0-38b1-4f04-904b-878237e0514e" providerId="ADAL" clId="{C60A4992-8F66-4C9B-8329-6D165390F93B}" dt="2020-03-11T18:17:11.360" v="3810"/>
          <ac:spMkLst>
            <pc:docMk/>
            <pc:sldMk cId="2648569777" sldId="708"/>
            <ac:spMk id="98" creationId="{A9CAB5AB-B5ED-41E3-94D6-6E3EC9897A8D}"/>
          </ac:spMkLst>
        </pc:spChg>
        <pc:spChg chg="del">
          <ac:chgData name="Siddharth Harisankar" userId="e0bcdbd0-38b1-4f04-904b-878237e0514e" providerId="ADAL" clId="{C60A4992-8F66-4C9B-8329-6D165390F93B}" dt="2020-03-11T18:17:11.373" v="3819"/>
          <ac:spMkLst>
            <pc:docMk/>
            <pc:sldMk cId="2648569777" sldId="708"/>
            <ac:spMk id="99" creationId="{94467837-9FEE-4C16-8ABF-CF8411319FAA}"/>
          </ac:spMkLst>
        </pc:spChg>
        <pc:spChg chg="del">
          <ac:chgData name="Siddharth Harisankar" userId="e0bcdbd0-38b1-4f04-904b-878237e0514e" providerId="ADAL" clId="{C60A4992-8F66-4C9B-8329-6D165390F93B}" dt="2020-03-11T18:17:11.389" v="3830"/>
          <ac:spMkLst>
            <pc:docMk/>
            <pc:sldMk cId="2648569777" sldId="708"/>
            <ac:spMk id="100" creationId="{0EF59849-5D30-42E3-A932-2C6C358C7B2D}"/>
          </ac:spMkLst>
        </pc:spChg>
        <pc:spChg chg="del">
          <ac:chgData name="Siddharth Harisankar" userId="e0bcdbd0-38b1-4f04-904b-878237e0514e" providerId="ADAL" clId="{C60A4992-8F66-4C9B-8329-6D165390F93B}" dt="2020-03-11T18:17:11.404" v="3840"/>
          <ac:spMkLst>
            <pc:docMk/>
            <pc:sldMk cId="2648569777" sldId="708"/>
            <ac:spMk id="101" creationId="{1741DBD1-D3EF-4428-981B-E865420C2566}"/>
          </ac:spMkLst>
        </pc:spChg>
        <pc:spChg chg="del">
          <ac:chgData name="Siddharth Harisankar" userId="e0bcdbd0-38b1-4f04-904b-878237e0514e" providerId="ADAL" clId="{C60A4992-8F66-4C9B-8329-6D165390F93B}" dt="2020-03-11T18:17:11.417" v="3849"/>
          <ac:spMkLst>
            <pc:docMk/>
            <pc:sldMk cId="2648569777" sldId="708"/>
            <ac:spMk id="102" creationId="{6F7BAB38-F77F-4DA0-BA64-D7433A650090}"/>
          </ac:spMkLst>
        </pc:spChg>
        <pc:spChg chg="del">
          <ac:chgData name="Siddharth Harisankar" userId="e0bcdbd0-38b1-4f04-904b-878237e0514e" providerId="ADAL" clId="{C60A4992-8F66-4C9B-8329-6D165390F93B}" dt="2020-03-11T18:17:11.433" v="3860"/>
          <ac:spMkLst>
            <pc:docMk/>
            <pc:sldMk cId="2648569777" sldId="708"/>
            <ac:spMk id="103" creationId="{DCB61413-347B-4283-8474-979256D8B7E5}"/>
          </ac:spMkLst>
        </pc:spChg>
        <pc:spChg chg="del">
          <ac:chgData name="Siddharth Harisankar" userId="e0bcdbd0-38b1-4f04-904b-878237e0514e" providerId="ADAL" clId="{C60A4992-8F66-4C9B-8329-6D165390F93B}" dt="2020-03-11T18:17:11.450" v="3870"/>
          <ac:spMkLst>
            <pc:docMk/>
            <pc:sldMk cId="2648569777" sldId="708"/>
            <ac:spMk id="104" creationId="{E9BFCD65-0849-47EB-AD30-0DCF8F871297}"/>
          </ac:spMkLst>
        </pc:spChg>
        <pc:spChg chg="del mod">
          <ac:chgData name="Siddharth Harisankar" userId="e0bcdbd0-38b1-4f04-904b-878237e0514e" providerId="ADAL" clId="{C60A4992-8F66-4C9B-8329-6D165390F93B}" dt="2020-03-11T18:18:13.468" v="4933" actId="478"/>
          <ac:spMkLst>
            <pc:docMk/>
            <pc:sldMk cId="2648569777" sldId="708"/>
            <ac:spMk id="106" creationId="{C67B7833-225D-4CB9-A73A-1443F1A1AA8F}"/>
          </ac:spMkLst>
        </pc:spChg>
        <pc:graphicFrameChg chg="mod ord">
          <ac:chgData name="Siddharth Harisankar" userId="e0bcdbd0-38b1-4f04-904b-878237e0514e" providerId="ADAL" clId="{C60A4992-8F66-4C9B-8329-6D165390F93B}" dt="2020-03-11T18:18:16.477" v="5196"/>
          <ac:graphicFrameMkLst>
            <pc:docMk/>
            <pc:sldMk cId="2648569777" sldId="708"/>
            <ac:graphicFrameMk id="4" creationId="{A9F9C243-F6F9-4217-BE94-EDB2B74004C1}"/>
          </ac:graphicFrameMkLst>
        </pc:graphicFrameChg>
        <pc:graphicFrameChg chg="add del mod">
          <ac:chgData name="Siddharth Harisankar" userId="e0bcdbd0-38b1-4f04-904b-878237e0514e" providerId="ADAL" clId="{C60A4992-8F66-4C9B-8329-6D165390F93B}" dt="2020-03-11T18:17:30.365" v="4208"/>
          <ac:graphicFrameMkLst>
            <pc:docMk/>
            <pc:sldMk cId="2648569777" sldId="708"/>
            <ac:graphicFrameMk id="64" creationId="{8CF621D2-4E78-4CFC-9495-F10F13B84DE9}"/>
          </ac:graphicFrameMkLst>
        </pc:graphicFrameChg>
        <pc:graphicFrameChg chg="add del mod">
          <ac:chgData name="Siddharth Harisankar" userId="e0bcdbd0-38b1-4f04-904b-878237e0514e" providerId="ADAL" clId="{C60A4992-8F66-4C9B-8329-6D165390F93B}" dt="2020-03-11T18:17:34.146" v="4310"/>
          <ac:graphicFrameMkLst>
            <pc:docMk/>
            <pc:sldMk cId="2648569777" sldId="708"/>
            <ac:graphicFrameMk id="65" creationId="{DB014C49-11E4-454A-90DE-6F2640ADAA94}"/>
          </ac:graphicFrameMkLst>
        </pc:graphicFrameChg>
        <pc:graphicFrameChg chg="add del mod">
          <ac:chgData name="Siddharth Harisankar" userId="e0bcdbd0-38b1-4f04-904b-878237e0514e" providerId="ADAL" clId="{C60A4992-8F66-4C9B-8329-6D165390F93B}" dt="2020-03-11T18:17:45.346" v="4575"/>
          <ac:graphicFrameMkLst>
            <pc:docMk/>
            <pc:sldMk cId="2648569777" sldId="708"/>
            <ac:graphicFrameMk id="68" creationId="{02725301-F0F1-4B10-AF58-9A479316ED57}"/>
          </ac:graphicFrameMkLst>
        </pc:graphicFrameChg>
        <pc:graphicFrameChg chg="add del mod">
          <ac:chgData name="Siddharth Harisankar" userId="e0bcdbd0-38b1-4f04-904b-878237e0514e" providerId="ADAL" clId="{C60A4992-8F66-4C9B-8329-6D165390F93B}" dt="2020-03-11T18:18:04.932" v="4859"/>
          <ac:graphicFrameMkLst>
            <pc:docMk/>
            <pc:sldMk cId="2648569777" sldId="708"/>
            <ac:graphicFrameMk id="69" creationId="{7E4E236A-7F12-441E-BF47-F86E3407B075}"/>
          </ac:graphicFrameMkLst>
        </pc:graphicFrameChg>
        <pc:graphicFrameChg chg="add del mod">
          <ac:chgData name="Siddharth Harisankar" userId="e0bcdbd0-38b1-4f04-904b-878237e0514e" providerId="ADAL" clId="{C60A4992-8F66-4C9B-8329-6D165390F93B}" dt="2020-03-11T18:18:16.429" v="5126"/>
          <ac:graphicFrameMkLst>
            <pc:docMk/>
            <pc:sldMk cId="2648569777" sldId="708"/>
            <ac:graphicFrameMk id="73" creationId="{D2C7265E-4FBD-4A59-A1EA-2F000E70DB29}"/>
          </ac:graphicFrameMkLst>
        </pc:graphicFrameChg>
        <pc:graphicFrameChg chg="add mod">
          <ac:chgData name="Siddharth Harisankar" userId="e0bcdbd0-38b1-4f04-904b-878237e0514e" providerId="ADAL" clId="{C60A4992-8F66-4C9B-8329-6D165390F93B}" dt="2020-03-11T18:18:16.449" v="5134"/>
          <ac:graphicFrameMkLst>
            <pc:docMk/>
            <pc:sldMk cId="2648569777" sldId="708"/>
            <ac:graphicFrameMk id="81" creationId="{FE29396A-D879-4A68-89EA-27A52BA992A6}"/>
          </ac:graphicFrameMkLst>
        </pc:graphicFrameChg>
        <pc:graphicFrameChg chg="del mod">
          <ac:chgData name="Siddharth Harisankar" userId="e0bcdbd0-38b1-4f04-904b-878237e0514e" providerId="ADAL" clId="{C60A4992-8F66-4C9B-8329-6D165390F93B}" dt="2020-03-11T18:17:59.187" v="4666" actId="478"/>
          <ac:graphicFrameMkLst>
            <pc:docMk/>
            <pc:sldMk cId="2648569777" sldId="708"/>
            <ac:graphicFrameMk id="107" creationId="{3A2C1564-7A48-4374-A631-2CC92CC1EE97}"/>
          </ac:graphicFrameMkLst>
        </pc:graphicFrameChg>
        <pc:picChg chg="mod ord">
          <ac:chgData name="Siddharth Harisankar" userId="e0bcdbd0-38b1-4f04-904b-878237e0514e" providerId="ADAL" clId="{C60A4992-8F66-4C9B-8329-6D165390F93B}" dt="2020-03-11T18:18:16.473" v="5192"/>
          <ac:picMkLst>
            <pc:docMk/>
            <pc:sldMk cId="2648569777" sldId="708"/>
            <ac:picMk id="80" creationId="{BC267C1D-D843-4D9A-8D63-B215485810EC}"/>
          </ac:picMkLst>
        </pc:picChg>
        <pc:picChg chg="mod ord">
          <ac:chgData name="Siddharth Harisankar" userId="e0bcdbd0-38b1-4f04-904b-878237e0514e" providerId="ADAL" clId="{C60A4992-8F66-4C9B-8329-6D165390F93B}" dt="2020-03-11T18:18:16.474" v="5194"/>
          <ac:picMkLst>
            <pc:docMk/>
            <pc:sldMk cId="2648569777" sldId="708"/>
            <ac:picMk id="82" creationId="{F795E2FA-131A-469D-8F38-B21974A3A160}"/>
          </ac:picMkLst>
        </pc:picChg>
        <pc:cxnChg chg="add del mod ord">
          <ac:chgData name="Siddharth Harisankar" userId="e0bcdbd0-38b1-4f04-904b-878237e0514e" providerId="ADAL" clId="{C60A4992-8F66-4C9B-8329-6D165390F93B}" dt="2020-03-11T18:17:30.304" v="4197"/>
          <ac:cxnSpMkLst>
            <pc:docMk/>
            <pc:sldMk cId="2648569777" sldId="708"/>
            <ac:cxnSpMk id="13" creationId="{519D1726-0D56-45D0-B824-B1586F57CF2C}"/>
          </ac:cxnSpMkLst>
        </pc:cxnChg>
        <pc:cxnChg chg="add del mod ord">
          <ac:chgData name="Siddharth Harisankar" userId="e0bcdbd0-38b1-4f04-904b-878237e0514e" providerId="ADAL" clId="{C60A4992-8F66-4C9B-8329-6D165390F93B}" dt="2020-03-11T18:17:30.300" v="4195"/>
          <ac:cxnSpMkLst>
            <pc:docMk/>
            <pc:sldMk cId="2648569777" sldId="708"/>
            <ac:cxnSpMk id="14" creationId="{7DCE69CB-C1C7-4D33-81C5-BAFCA78EF344}"/>
          </ac:cxnSpMkLst>
        </pc:cxnChg>
        <pc:cxnChg chg="add del mod ord">
          <ac:chgData name="Siddharth Harisankar" userId="e0bcdbd0-38b1-4f04-904b-878237e0514e" providerId="ADAL" clId="{C60A4992-8F66-4C9B-8329-6D165390F93B}" dt="2020-03-11T18:17:30.300" v="4193"/>
          <ac:cxnSpMkLst>
            <pc:docMk/>
            <pc:sldMk cId="2648569777" sldId="708"/>
            <ac:cxnSpMk id="15" creationId="{15169B38-96CB-4A44-9D5D-5C727D6A73C5}"/>
          </ac:cxnSpMkLst>
        </pc:cxnChg>
        <pc:cxnChg chg="add del mod ord">
          <ac:chgData name="Siddharth Harisankar" userId="e0bcdbd0-38b1-4f04-904b-878237e0514e" providerId="ADAL" clId="{C60A4992-8F66-4C9B-8329-6D165390F93B}" dt="2020-03-11T18:17:30.297" v="4191"/>
          <ac:cxnSpMkLst>
            <pc:docMk/>
            <pc:sldMk cId="2648569777" sldId="708"/>
            <ac:cxnSpMk id="16" creationId="{E5AF67C1-6FE7-4DE0-AF9B-6A90D4441D88}"/>
          </ac:cxnSpMkLst>
        </pc:cxnChg>
        <pc:cxnChg chg="add del mod ord">
          <ac:chgData name="Siddharth Harisankar" userId="e0bcdbd0-38b1-4f04-904b-878237e0514e" providerId="ADAL" clId="{C60A4992-8F66-4C9B-8329-6D165390F93B}" dt="2020-03-11T18:17:30.295" v="4189"/>
          <ac:cxnSpMkLst>
            <pc:docMk/>
            <pc:sldMk cId="2648569777" sldId="708"/>
            <ac:cxnSpMk id="17" creationId="{F751DFD3-2771-4C67-B96C-029EB22B3728}"/>
          </ac:cxnSpMkLst>
        </pc:cxnChg>
        <pc:cxnChg chg="add del mod ord">
          <ac:chgData name="Siddharth Harisankar" userId="e0bcdbd0-38b1-4f04-904b-878237e0514e" providerId="ADAL" clId="{C60A4992-8F66-4C9B-8329-6D165390F93B}" dt="2020-03-11T18:17:30.290" v="4187"/>
          <ac:cxnSpMkLst>
            <pc:docMk/>
            <pc:sldMk cId="2648569777" sldId="708"/>
            <ac:cxnSpMk id="18" creationId="{29A65BA9-021F-4B2D-A570-1D35A5A3E70F}"/>
          </ac:cxnSpMkLst>
        </pc:cxnChg>
        <pc:cxnChg chg="mod ord">
          <ac:chgData name="Siddharth Harisankar" userId="e0bcdbd0-38b1-4f04-904b-878237e0514e" providerId="ADAL" clId="{C60A4992-8F66-4C9B-8329-6D165390F93B}" dt="2020-03-11T18:18:16.455" v="5151"/>
          <ac:cxnSpMkLst>
            <pc:docMk/>
            <pc:sldMk cId="2648569777" sldId="708"/>
            <ac:cxnSpMk id="45" creationId="{0774C5DD-D75D-44A2-BE2D-BA6571A98F1B}"/>
          </ac:cxnSpMkLst>
        </pc:cxnChg>
        <pc:cxnChg chg="mod ord">
          <ac:chgData name="Siddharth Harisankar" userId="e0bcdbd0-38b1-4f04-904b-878237e0514e" providerId="ADAL" clId="{C60A4992-8F66-4C9B-8329-6D165390F93B}" dt="2020-03-11T18:18:16.456" v="5153"/>
          <ac:cxnSpMkLst>
            <pc:docMk/>
            <pc:sldMk cId="2648569777" sldId="708"/>
            <ac:cxnSpMk id="46" creationId="{6ABB37E2-90A7-4810-A217-FB8147862489}"/>
          </ac:cxnSpMkLst>
        </pc:cxnChg>
        <pc:cxnChg chg="mod ord">
          <ac:chgData name="Siddharth Harisankar" userId="e0bcdbd0-38b1-4f04-904b-878237e0514e" providerId="ADAL" clId="{C60A4992-8F66-4C9B-8329-6D165390F93B}" dt="2020-03-11T18:18:16.457" v="5155"/>
          <ac:cxnSpMkLst>
            <pc:docMk/>
            <pc:sldMk cId="2648569777" sldId="708"/>
            <ac:cxnSpMk id="47" creationId="{C79D5945-38C1-4D43-A76A-52E73B606542}"/>
          </ac:cxnSpMkLst>
        </pc:cxnChg>
        <pc:cxnChg chg="mod ord">
          <ac:chgData name="Siddharth Harisankar" userId="e0bcdbd0-38b1-4f04-904b-878237e0514e" providerId="ADAL" clId="{C60A4992-8F66-4C9B-8329-6D165390F93B}" dt="2020-03-11T18:18:16.461" v="5161"/>
          <ac:cxnSpMkLst>
            <pc:docMk/>
            <pc:sldMk cId="2648569777" sldId="708"/>
            <ac:cxnSpMk id="48" creationId="{E0E39722-425A-4A64-9AAA-B64B85DDB7F9}"/>
          </ac:cxnSpMkLst>
        </pc:cxnChg>
        <pc:cxnChg chg="mod ord">
          <ac:chgData name="Siddharth Harisankar" userId="e0bcdbd0-38b1-4f04-904b-878237e0514e" providerId="ADAL" clId="{C60A4992-8F66-4C9B-8329-6D165390F93B}" dt="2020-03-11T18:18:16.459" v="5157"/>
          <ac:cxnSpMkLst>
            <pc:docMk/>
            <pc:sldMk cId="2648569777" sldId="708"/>
            <ac:cxnSpMk id="49" creationId="{53600CEC-7CFC-4C4A-A7AE-29B28DF9F5F8}"/>
          </ac:cxnSpMkLst>
        </pc:cxnChg>
        <pc:cxnChg chg="mod ord">
          <ac:chgData name="Siddharth Harisankar" userId="e0bcdbd0-38b1-4f04-904b-878237e0514e" providerId="ADAL" clId="{C60A4992-8F66-4C9B-8329-6D165390F93B}" dt="2020-03-11T18:18:16.460" v="5159"/>
          <ac:cxnSpMkLst>
            <pc:docMk/>
            <pc:sldMk cId="2648569777" sldId="708"/>
            <ac:cxnSpMk id="50" creationId="{D4043434-A5DA-46DC-B5CB-2089079A191D}"/>
          </ac:cxnSpMkLst>
        </pc:cxnChg>
        <pc:cxnChg chg="mod ord">
          <ac:chgData name="Siddharth Harisankar" userId="e0bcdbd0-38b1-4f04-904b-878237e0514e" providerId="ADAL" clId="{C60A4992-8F66-4C9B-8329-6D165390F93B}" dt="2020-03-11T18:18:16.463" v="5167"/>
          <ac:cxnSpMkLst>
            <pc:docMk/>
            <pc:sldMk cId="2648569777" sldId="708"/>
            <ac:cxnSpMk id="51" creationId="{3C8E295C-9F8D-4F85-A7FB-198FB2B526CC}"/>
          </ac:cxnSpMkLst>
        </pc:cxnChg>
        <pc:cxnChg chg="mod ord">
          <ac:chgData name="Siddharth Harisankar" userId="e0bcdbd0-38b1-4f04-904b-878237e0514e" providerId="ADAL" clId="{C60A4992-8F66-4C9B-8329-6D165390F93B}" dt="2020-03-11T18:18:16.462" v="5163"/>
          <ac:cxnSpMkLst>
            <pc:docMk/>
            <pc:sldMk cId="2648569777" sldId="708"/>
            <ac:cxnSpMk id="52" creationId="{9F5D826C-D181-4255-B499-8975046E2A9A}"/>
          </ac:cxnSpMkLst>
        </pc:cxnChg>
        <pc:cxnChg chg="mod ord">
          <ac:chgData name="Siddharth Harisankar" userId="e0bcdbd0-38b1-4f04-904b-878237e0514e" providerId="ADAL" clId="{C60A4992-8F66-4C9B-8329-6D165390F93B}" dt="2020-03-11T18:18:16.462" v="5165"/>
          <ac:cxnSpMkLst>
            <pc:docMk/>
            <pc:sldMk cId="2648569777" sldId="708"/>
            <ac:cxnSpMk id="53" creationId="{111F986F-BEFC-4531-B65B-7506055FE1AA}"/>
          </ac:cxnSpMkLst>
        </pc:cxnChg>
      </pc:sldChg>
      <pc:sldChg chg="addSp delSp modSp add">
        <pc:chgData name="Siddharth Harisankar" userId="e0bcdbd0-38b1-4f04-904b-878237e0514e" providerId="ADAL" clId="{C60A4992-8F66-4C9B-8329-6D165390F93B}" dt="2020-03-11T19:12:11.543" v="8356" actId="14100"/>
        <pc:sldMkLst>
          <pc:docMk/>
          <pc:sldMk cId="1068895329" sldId="711"/>
        </pc:sldMkLst>
        <pc:picChg chg="add del mod">
          <ac:chgData name="Siddharth Harisankar" userId="e0bcdbd0-38b1-4f04-904b-878237e0514e" providerId="ADAL" clId="{C60A4992-8F66-4C9B-8329-6D165390F93B}" dt="2020-03-11T19:01:09.105" v="8281" actId="478"/>
          <ac:picMkLst>
            <pc:docMk/>
            <pc:sldMk cId="1068895329" sldId="711"/>
            <ac:picMk id="3" creationId="{3DEBD7EA-66AB-4AB0-9224-2FD1648DF96F}"/>
          </ac:picMkLst>
        </pc:picChg>
        <pc:picChg chg="del">
          <ac:chgData name="Siddharth Harisankar" userId="e0bcdbd0-38b1-4f04-904b-878237e0514e" providerId="ADAL" clId="{C60A4992-8F66-4C9B-8329-6D165390F93B}" dt="2020-03-11T19:00:47.648" v="8276" actId="478"/>
          <ac:picMkLst>
            <pc:docMk/>
            <pc:sldMk cId="1068895329" sldId="711"/>
            <ac:picMk id="5" creationId="{F7F725EF-8148-4D35-ACDE-16F3A6F77FAF}"/>
          </ac:picMkLst>
        </pc:picChg>
        <pc:picChg chg="add del mod">
          <ac:chgData name="Siddharth Harisankar" userId="e0bcdbd0-38b1-4f04-904b-878237e0514e" providerId="ADAL" clId="{C60A4992-8F66-4C9B-8329-6D165390F93B}" dt="2020-03-11T19:08:41.269" v="8320" actId="478"/>
          <ac:picMkLst>
            <pc:docMk/>
            <pc:sldMk cId="1068895329" sldId="711"/>
            <ac:picMk id="11" creationId="{5D91BBB0-9A21-4A55-AB89-93BD2199C011}"/>
          </ac:picMkLst>
        </pc:picChg>
        <pc:picChg chg="add del mod">
          <ac:chgData name="Siddharth Harisankar" userId="e0bcdbd0-38b1-4f04-904b-878237e0514e" providerId="ADAL" clId="{C60A4992-8F66-4C9B-8329-6D165390F93B}" dt="2020-03-11T19:11:55.974" v="8351" actId="478"/>
          <ac:picMkLst>
            <pc:docMk/>
            <pc:sldMk cId="1068895329" sldId="711"/>
            <ac:picMk id="12" creationId="{32DBBCD5-0A42-4D06-8D81-3C55868F7DAA}"/>
          </ac:picMkLst>
        </pc:picChg>
        <pc:picChg chg="add mod">
          <ac:chgData name="Siddharth Harisankar" userId="e0bcdbd0-38b1-4f04-904b-878237e0514e" providerId="ADAL" clId="{C60A4992-8F66-4C9B-8329-6D165390F93B}" dt="2020-03-11T19:12:11.543" v="8356" actId="14100"/>
          <ac:picMkLst>
            <pc:docMk/>
            <pc:sldMk cId="1068895329" sldId="711"/>
            <ac:picMk id="13" creationId="{D090B7CC-019D-41AE-949F-9E256157ACF1}"/>
          </ac:picMkLst>
        </pc:picChg>
      </pc:sldChg>
      <pc:sldChg chg="addSp delSp modSp del">
        <pc:chgData name="Siddharth Harisankar" userId="e0bcdbd0-38b1-4f04-904b-878237e0514e" providerId="ADAL" clId="{C60A4992-8F66-4C9B-8329-6D165390F93B}" dt="2020-03-11T18:35:13.330" v="8273" actId="2696"/>
        <pc:sldMkLst>
          <pc:docMk/>
          <pc:sldMk cId="2648569777" sldId="711"/>
        </pc:sldMkLst>
        <pc:spChg chg="mod ord">
          <ac:chgData name="Siddharth Harisankar" userId="e0bcdbd0-38b1-4f04-904b-878237e0514e" providerId="ADAL" clId="{C60A4992-8F66-4C9B-8329-6D165390F93B}" dt="2020-03-11T18:34:58.508" v="7881"/>
          <ac:spMkLst>
            <pc:docMk/>
            <pc:sldMk cId="2648569777" sldId="711"/>
            <ac:spMk id="2" creationId="{51727749-65AB-4FAC-AC8A-78D01F343C68}"/>
          </ac:spMkLst>
        </pc:spChg>
        <pc:spChg chg="del">
          <ac:chgData name="Siddharth Harisankar" userId="e0bcdbd0-38b1-4f04-904b-878237e0514e" providerId="ADAL" clId="{C60A4992-8F66-4C9B-8329-6D165390F93B}" dt="2020-03-11T18:29:30.611" v="5296"/>
          <ac:spMkLst>
            <pc:docMk/>
            <pc:sldMk cId="2648569777" sldId="711"/>
            <ac:spMk id="3" creationId="{89BE30C4-5FCA-4719-8DE4-8E6F9B82C75D}"/>
          </ac:spMkLst>
        </pc:spChg>
        <pc:spChg chg="del">
          <ac:chgData name="Siddharth Harisankar" userId="e0bcdbd0-38b1-4f04-904b-878237e0514e" providerId="ADAL" clId="{C60A4992-8F66-4C9B-8329-6D165390F93B}" dt="2020-03-11T18:29:30.620" v="5307"/>
          <ac:spMkLst>
            <pc:docMk/>
            <pc:sldMk cId="2648569777" sldId="711"/>
            <ac:spMk id="5" creationId="{20C7796C-0421-47BD-82E5-B353E5F8664D}"/>
          </ac:spMkLst>
        </pc:spChg>
        <pc:spChg chg="del">
          <ac:chgData name="Siddharth Harisankar" userId="e0bcdbd0-38b1-4f04-904b-878237e0514e" providerId="ADAL" clId="{C60A4992-8F66-4C9B-8329-6D165390F93B}" dt="2020-03-11T18:29:30.628" v="5317"/>
          <ac:spMkLst>
            <pc:docMk/>
            <pc:sldMk cId="2648569777" sldId="711"/>
            <ac:spMk id="6" creationId="{8B8DA03F-8830-4370-88CF-8209F25313F8}"/>
          </ac:spMkLst>
        </pc:spChg>
        <pc:spChg chg="del">
          <ac:chgData name="Siddharth Harisankar" userId="e0bcdbd0-38b1-4f04-904b-878237e0514e" providerId="ADAL" clId="{C60A4992-8F66-4C9B-8329-6D165390F93B}" dt="2020-03-11T18:29:30.641" v="5338"/>
          <ac:spMkLst>
            <pc:docMk/>
            <pc:sldMk cId="2648569777" sldId="711"/>
            <ac:spMk id="7" creationId="{225388C0-F09A-49BE-A030-48B92AFE28C2}"/>
          </ac:spMkLst>
        </pc:spChg>
        <pc:spChg chg="del">
          <ac:chgData name="Siddharth Harisankar" userId="e0bcdbd0-38b1-4f04-904b-878237e0514e" providerId="ADAL" clId="{C60A4992-8F66-4C9B-8329-6D165390F93B}" dt="2020-03-11T18:29:30.650" v="5349"/>
          <ac:spMkLst>
            <pc:docMk/>
            <pc:sldMk cId="2648569777" sldId="711"/>
            <ac:spMk id="8" creationId="{9ECAE0FE-A28B-4A27-B5AB-B87D1639DF82}"/>
          </ac:spMkLst>
        </pc:spChg>
        <pc:spChg chg="del">
          <ac:chgData name="Siddharth Harisankar" userId="e0bcdbd0-38b1-4f04-904b-878237e0514e" providerId="ADAL" clId="{C60A4992-8F66-4C9B-8329-6D165390F93B}" dt="2020-03-11T18:29:30.657" v="5359"/>
          <ac:spMkLst>
            <pc:docMk/>
            <pc:sldMk cId="2648569777" sldId="711"/>
            <ac:spMk id="9" creationId="{2A585A4C-C143-4618-A168-D629A5373BD9}"/>
          </ac:spMkLst>
        </pc:spChg>
        <pc:spChg chg="del">
          <ac:chgData name="Siddharth Harisankar" userId="e0bcdbd0-38b1-4f04-904b-878237e0514e" providerId="ADAL" clId="{C60A4992-8F66-4C9B-8329-6D165390F93B}" dt="2020-03-11T18:29:30.668" v="5380"/>
          <ac:spMkLst>
            <pc:docMk/>
            <pc:sldMk cId="2648569777" sldId="711"/>
            <ac:spMk id="10" creationId="{A7713434-9D68-458A-BD44-449FF6EB801E}"/>
          </ac:spMkLst>
        </pc:spChg>
        <pc:spChg chg="del">
          <ac:chgData name="Siddharth Harisankar" userId="e0bcdbd0-38b1-4f04-904b-878237e0514e" providerId="ADAL" clId="{C60A4992-8F66-4C9B-8329-6D165390F93B}" dt="2020-03-11T18:29:30.678" v="5391"/>
          <ac:spMkLst>
            <pc:docMk/>
            <pc:sldMk cId="2648569777" sldId="711"/>
            <ac:spMk id="11" creationId="{F21F7D26-5250-40BF-8199-6F2E9F907370}"/>
          </ac:spMkLst>
        </pc:spChg>
        <pc:spChg chg="del">
          <ac:chgData name="Siddharth Harisankar" userId="e0bcdbd0-38b1-4f04-904b-878237e0514e" providerId="ADAL" clId="{C60A4992-8F66-4C9B-8329-6D165390F93B}" dt="2020-03-11T18:29:30.686" v="5401"/>
          <ac:spMkLst>
            <pc:docMk/>
            <pc:sldMk cId="2648569777" sldId="711"/>
            <ac:spMk id="12" creationId="{33747B6D-B6F7-4932-AFE6-4974930DE1C6}"/>
          </ac:spMkLst>
        </pc:spChg>
        <pc:spChg chg="add del mod ord">
          <ac:chgData name="Siddharth Harisankar" userId="e0bcdbd0-38b1-4f04-904b-878237e0514e" providerId="ADAL" clId="{C60A4992-8F66-4C9B-8329-6D165390F93B}" dt="2020-03-11T18:29:41.134" v="5745"/>
          <ac:spMkLst>
            <pc:docMk/>
            <pc:sldMk cId="2648569777" sldId="711"/>
            <ac:spMk id="19" creationId="{16D6AE6C-9DBE-45DA-984D-1A0792AA706B}"/>
          </ac:spMkLst>
        </pc:spChg>
        <pc:spChg chg="add del mod ord">
          <ac:chgData name="Siddharth Harisankar" userId="e0bcdbd0-38b1-4f04-904b-878237e0514e" providerId="ADAL" clId="{C60A4992-8F66-4C9B-8329-6D165390F93B}" dt="2020-03-11T18:29:41.143" v="5756"/>
          <ac:spMkLst>
            <pc:docMk/>
            <pc:sldMk cId="2648569777" sldId="711"/>
            <ac:spMk id="20" creationId="{7CA93797-E791-4BC1-80D3-61AFADD20D73}"/>
          </ac:spMkLst>
        </pc:spChg>
        <pc:spChg chg="add del mod">
          <ac:chgData name="Siddharth Harisankar" userId="e0bcdbd0-38b1-4f04-904b-878237e0514e" providerId="ADAL" clId="{C60A4992-8F66-4C9B-8329-6D165390F93B}" dt="2020-03-11T18:29:41.150" v="5766"/>
          <ac:spMkLst>
            <pc:docMk/>
            <pc:sldMk cId="2648569777" sldId="711"/>
            <ac:spMk id="21" creationId="{917A212C-CD07-46E3-B40C-FB0F8E65710B}"/>
          </ac:spMkLst>
        </pc:spChg>
        <pc:spChg chg="add del mod ord">
          <ac:chgData name="Siddharth Harisankar" userId="e0bcdbd0-38b1-4f04-904b-878237e0514e" providerId="ADAL" clId="{C60A4992-8F66-4C9B-8329-6D165390F93B}" dt="2020-03-11T18:29:41.160" v="5787"/>
          <ac:spMkLst>
            <pc:docMk/>
            <pc:sldMk cId="2648569777" sldId="711"/>
            <ac:spMk id="22" creationId="{39885D20-30C2-49BB-B6E1-091453CACEC8}"/>
          </ac:spMkLst>
        </pc:spChg>
        <pc:spChg chg="add del mod ord">
          <ac:chgData name="Siddharth Harisankar" userId="e0bcdbd0-38b1-4f04-904b-878237e0514e" providerId="ADAL" clId="{C60A4992-8F66-4C9B-8329-6D165390F93B}" dt="2020-03-11T18:29:41.171" v="5798"/>
          <ac:spMkLst>
            <pc:docMk/>
            <pc:sldMk cId="2648569777" sldId="711"/>
            <ac:spMk id="23" creationId="{067CC67A-9FE3-4B42-ACF4-BB76A16CBB29}"/>
          </ac:spMkLst>
        </pc:spChg>
        <pc:spChg chg="add del mod">
          <ac:chgData name="Siddharth Harisankar" userId="e0bcdbd0-38b1-4f04-904b-878237e0514e" providerId="ADAL" clId="{C60A4992-8F66-4C9B-8329-6D165390F93B}" dt="2020-03-11T18:29:41.178" v="5808"/>
          <ac:spMkLst>
            <pc:docMk/>
            <pc:sldMk cId="2648569777" sldId="711"/>
            <ac:spMk id="24" creationId="{281DB522-7DC9-4075-B607-A965B16B1E99}"/>
          </ac:spMkLst>
        </pc:spChg>
        <pc:spChg chg="add del mod ord">
          <ac:chgData name="Siddharth Harisankar" userId="e0bcdbd0-38b1-4f04-904b-878237e0514e" providerId="ADAL" clId="{C60A4992-8F66-4C9B-8329-6D165390F93B}" dt="2020-03-11T18:29:41.188" v="5829"/>
          <ac:spMkLst>
            <pc:docMk/>
            <pc:sldMk cId="2648569777" sldId="711"/>
            <ac:spMk id="25" creationId="{C10907E5-3EBD-4D6D-A7CE-247CA41860B7}"/>
          </ac:spMkLst>
        </pc:spChg>
        <pc:spChg chg="add del mod ord">
          <ac:chgData name="Siddharth Harisankar" userId="e0bcdbd0-38b1-4f04-904b-878237e0514e" providerId="ADAL" clId="{C60A4992-8F66-4C9B-8329-6D165390F93B}" dt="2020-03-11T18:29:41.198" v="5840"/>
          <ac:spMkLst>
            <pc:docMk/>
            <pc:sldMk cId="2648569777" sldId="711"/>
            <ac:spMk id="26" creationId="{4EDA6CB0-552F-4DBC-8144-42DB05D482AA}"/>
          </ac:spMkLst>
        </pc:spChg>
        <pc:spChg chg="add del mod">
          <ac:chgData name="Siddharth Harisankar" userId="e0bcdbd0-38b1-4f04-904b-878237e0514e" providerId="ADAL" clId="{C60A4992-8F66-4C9B-8329-6D165390F93B}" dt="2020-03-11T18:29:41.207" v="5850"/>
          <ac:spMkLst>
            <pc:docMk/>
            <pc:sldMk cId="2648569777" sldId="711"/>
            <ac:spMk id="27" creationId="{A94A41FF-D9ED-479A-84EA-DA7847B41D00}"/>
          </ac:spMkLst>
        </pc:spChg>
        <pc:spChg chg="add del mod ord">
          <ac:chgData name="Siddharth Harisankar" userId="e0bcdbd0-38b1-4f04-904b-878237e0514e" providerId="ADAL" clId="{C60A4992-8F66-4C9B-8329-6D165390F93B}" dt="2020-03-11T18:33:58.832" v="6282"/>
          <ac:spMkLst>
            <pc:docMk/>
            <pc:sldMk cId="2648569777" sldId="711"/>
            <ac:spMk id="28" creationId="{12A8501E-F7DC-4C3B-992A-360244C6A429}"/>
          </ac:spMkLst>
        </pc:spChg>
        <pc:spChg chg="add del mod ord">
          <ac:chgData name="Siddharth Harisankar" userId="e0bcdbd0-38b1-4f04-904b-878237e0514e" providerId="ADAL" clId="{C60A4992-8F66-4C9B-8329-6D165390F93B}" dt="2020-03-11T18:33:58.840" v="6293"/>
          <ac:spMkLst>
            <pc:docMk/>
            <pc:sldMk cId="2648569777" sldId="711"/>
            <ac:spMk id="29" creationId="{9835AEEC-9365-4683-8252-324E4502BE25}"/>
          </ac:spMkLst>
        </pc:spChg>
        <pc:spChg chg="add del mod">
          <ac:chgData name="Siddharth Harisankar" userId="e0bcdbd0-38b1-4f04-904b-878237e0514e" providerId="ADAL" clId="{C60A4992-8F66-4C9B-8329-6D165390F93B}" dt="2020-03-11T18:33:58.846" v="6303"/>
          <ac:spMkLst>
            <pc:docMk/>
            <pc:sldMk cId="2648569777" sldId="711"/>
            <ac:spMk id="30" creationId="{02E22947-A26B-4A1E-9651-0B0DC700BE36}"/>
          </ac:spMkLst>
        </pc:spChg>
        <pc:spChg chg="add del mod ord">
          <ac:chgData name="Siddharth Harisankar" userId="e0bcdbd0-38b1-4f04-904b-878237e0514e" providerId="ADAL" clId="{C60A4992-8F66-4C9B-8329-6D165390F93B}" dt="2020-03-11T18:33:58.853" v="6312"/>
          <ac:spMkLst>
            <pc:docMk/>
            <pc:sldMk cId="2648569777" sldId="711"/>
            <ac:spMk id="31" creationId="{9655F9C7-BEF4-4428-B5E0-5F68A5D2225A}"/>
          </ac:spMkLst>
        </pc:spChg>
        <pc:spChg chg="add del mod ord">
          <ac:chgData name="Siddharth Harisankar" userId="e0bcdbd0-38b1-4f04-904b-878237e0514e" providerId="ADAL" clId="{C60A4992-8F66-4C9B-8329-6D165390F93B}" dt="2020-03-11T18:33:58.860" v="6323"/>
          <ac:spMkLst>
            <pc:docMk/>
            <pc:sldMk cId="2648569777" sldId="711"/>
            <ac:spMk id="32" creationId="{230512D1-6B3D-45EB-924C-73360A5B60AF}"/>
          </ac:spMkLst>
        </pc:spChg>
        <pc:spChg chg="add del mod">
          <ac:chgData name="Siddharth Harisankar" userId="e0bcdbd0-38b1-4f04-904b-878237e0514e" providerId="ADAL" clId="{C60A4992-8F66-4C9B-8329-6D165390F93B}" dt="2020-03-11T18:33:58.869" v="6333"/>
          <ac:spMkLst>
            <pc:docMk/>
            <pc:sldMk cId="2648569777" sldId="711"/>
            <ac:spMk id="33" creationId="{A098BBAE-4880-49D9-970B-B6C9FE448D30}"/>
          </ac:spMkLst>
        </pc:spChg>
        <pc:spChg chg="add del mod ord">
          <ac:chgData name="Siddharth Harisankar" userId="e0bcdbd0-38b1-4f04-904b-878237e0514e" providerId="ADAL" clId="{C60A4992-8F66-4C9B-8329-6D165390F93B}" dt="2020-03-11T18:33:58.879" v="6342"/>
          <ac:spMkLst>
            <pc:docMk/>
            <pc:sldMk cId="2648569777" sldId="711"/>
            <ac:spMk id="34" creationId="{A5A5C3C9-C3DE-45D2-8A92-22FBAAE6C9A8}"/>
          </ac:spMkLst>
        </pc:spChg>
        <pc:spChg chg="add del mod ord">
          <ac:chgData name="Siddharth Harisankar" userId="e0bcdbd0-38b1-4f04-904b-878237e0514e" providerId="ADAL" clId="{C60A4992-8F66-4C9B-8329-6D165390F93B}" dt="2020-03-11T18:33:58.890" v="6353"/>
          <ac:spMkLst>
            <pc:docMk/>
            <pc:sldMk cId="2648569777" sldId="711"/>
            <ac:spMk id="35" creationId="{ACE16B76-F974-4659-9891-91A9B7668118}"/>
          </ac:spMkLst>
        </pc:spChg>
        <pc:spChg chg="add del mod">
          <ac:chgData name="Siddharth Harisankar" userId="e0bcdbd0-38b1-4f04-904b-878237e0514e" providerId="ADAL" clId="{C60A4992-8F66-4C9B-8329-6D165390F93B}" dt="2020-03-11T18:33:58.901" v="6363"/>
          <ac:spMkLst>
            <pc:docMk/>
            <pc:sldMk cId="2648569777" sldId="711"/>
            <ac:spMk id="36" creationId="{FE7DFCED-310D-49CD-94E3-0C63197708FA}"/>
          </ac:spMkLst>
        </pc:spChg>
        <pc:spChg chg="mod">
          <ac:chgData name="Siddharth Harisankar" userId="e0bcdbd0-38b1-4f04-904b-878237e0514e" providerId="ADAL" clId="{C60A4992-8F66-4C9B-8329-6D165390F93B}" dt="2020-03-11T18:34:58.525" v="7916"/>
          <ac:spMkLst>
            <pc:docMk/>
            <pc:sldMk cId="2648569777" sldId="711"/>
            <ac:spMk id="57" creationId="{82F87B6A-5743-438A-A5C3-D1A0CA52946D}"/>
          </ac:spMkLst>
        </pc:spChg>
        <pc:spChg chg="mod">
          <ac:chgData name="Siddharth Harisankar" userId="e0bcdbd0-38b1-4f04-904b-878237e0514e" providerId="ADAL" clId="{C60A4992-8F66-4C9B-8329-6D165390F93B}" dt="2020-03-11T18:34:58.525" v="7918"/>
          <ac:spMkLst>
            <pc:docMk/>
            <pc:sldMk cId="2648569777" sldId="711"/>
            <ac:spMk id="58" creationId="{EB0CDC31-655F-493E-89DD-86B3E7CB3C1F}"/>
          </ac:spMkLst>
        </pc:spChg>
        <pc:spChg chg="mod">
          <ac:chgData name="Siddharth Harisankar" userId="e0bcdbd0-38b1-4f04-904b-878237e0514e" providerId="ADAL" clId="{C60A4992-8F66-4C9B-8329-6D165390F93B}" dt="2020-03-11T18:34:58.531" v="7923"/>
          <ac:spMkLst>
            <pc:docMk/>
            <pc:sldMk cId="2648569777" sldId="711"/>
            <ac:spMk id="61" creationId="{4258C5E6-D9AA-4059-944F-DDD9964E6099}"/>
          </ac:spMkLst>
        </pc:spChg>
        <pc:spChg chg="mod">
          <ac:chgData name="Siddharth Harisankar" userId="e0bcdbd0-38b1-4f04-904b-878237e0514e" providerId="ADAL" clId="{C60A4992-8F66-4C9B-8329-6D165390F93B}" dt="2020-03-11T18:34:58.529" v="7920"/>
          <ac:spMkLst>
            <pc:docMk/>
            <pc:sldMk cId="2648569777" sldId="711"/>
            <ac:spMk id="62" creationId="{E32FA1B3-97C4-42A2-8BFE-0090219EFD4B}"/>
          </ac:spMkLst>
        </pc:spChg>
        <pc:spChg chg="mod">
          <ac:chgData name="Siddharth Harisankar" userId="e0bcdbd0-38b1-4f04-904b-878237e0514e" providerId="ADAL" clId="{C60A4992-8F66-4C9B-8329-6D165390F93B}" dt="2020-03-11T18:34:58.528" v="7919"/>
          <ac:spMkLst>
            <pc:docMk/>
            <pc:sldMk cId="2648569777" sldId="711"/>
            <ac:spMk id="63" creationId="{C7BA7B2B-1BE6-4633-BE08-1D854BDEFCE4}"/>
          </ac:spMkLst>
        </pc:spChg>
        <pc:spChg chg="mod">
          <ac:chgData name="Siddharth Harisankar" userId="e0bcdbd0-38b1-4f04-904b-878237e0514e" providerId="ADAL" clId="{C60A4992-8F66-4C9B-8329-6D165390F93B}" dt="2020-03-11T18:34:58.525" v="7917"/>
          <ac:spMkLst>
            <pc:docMk/>
            <pc:sldMk cId="2648569777" sldId="711"/>
            <ac:spMk id="66" creationId="{FAD9F17C-1263-428A-A7AA-7C3B174172B6}"/>
          </ac:spMkLst>
        </pc:spChg>
        <pc:spChg chg="mod">
          <ac:chgData name="Siddharth Harisankar" userId="e0bcdbd0-38b1-4f04-904b-878237e0514e" providerId="ADAL" clId="{C60A4992-8F66-4C9B-8329-6D165390F93B}" dt="2020-03-11T18:34:58.530" v="7921"/>
          <ac:spMkLst>
            <pc:docMk/>
            <pc:sldMk cId="2648569777" sldId="711"/>
            <ac:spMk id="67" creationId="{2E53AAC5-50DA-415C-899B-19FAD66DEFDE}"/>
          </ac:spMkLst>
        </pc:spChg>
        <pc:spChg chg="mod ord">
          <ac:chgData name="Siddharth Harisankar" userId="e0bcdbd0-38b1-4f04-904b-878237e0514e" providerId="ADAL" clId="{C60A4992-8F66-4C9B-8329-6D165390F93B}" dt="2020-03-11T18:34:58.532" v="7926"/>
          <ac:spMkLst>
            <pc:docMk/>
            <pc:sldMk cId="2648569777" sldId="711"/>
            <ac:spMk id="70" creationId="{B9BF5547-1C7D-4105-B447-2B2CEB1118E6}"/>
          </ac:spMkLst>
        </pc:spChg>
        <pc:spChg chg="mod ord">
          <ac:chgData name="Siddharth Harisankar" userId="e0bcdbd0-38b1-4f04-904b-878237e0514e" providerId="ADAL" clId="{C60A4992-8F66-4C9B-8329-6D165390F93B}" dt="2020-03-11T18:34:58.533" v="7928"/>
          <ac:spMkLst>
            <pc:docMk/>
            <pc:sldMk cId="2648569777" sldId="711"/>
            <ac:spMk id="71" creationId="{1921944D-B765-4515-B7C7-5F1C64BEE53E}"/>
          </ac:spMkLst>
        </pc:spChg>
        <pc:spChg chg="mod ord">
          <ac:chgData name="Siddharth Harisankar" userId="e0bcdbd0-38b1-4f04-904b-878237e0514e" providerId="ADAL" clId="{C60A4992-8F66-4C9B-8329-6D165390F93B}" dt="2020-03-11T18:34:58.533" v="7930"/>
          <ac:spMkLst>
            <pc:docMk/>
            <pc:sldMk cId="2648569777" sldId="711"/>
            <ac:spMk id="72" creationId="{1A807318-7D0E-4218-BB9E-0775FD0290B9}"/>
          </ac:spMkLst>
        </pc:spChg>
        <pc:spChg chg="mod">
          <ac:chgData name="Siddharth Harisankar" userId="e0bcdbd0-38b1-4f04-904b-878237e0514e" providerId="ADAL" clId="{C60A4992-8F66-4C9B-8329-6D165390F93B}" dt="2020-03-11T18:34:58.534" v="7932"/>
          <ac:spMkLst>
            <pc:docMk/>
            <pc:sldMk cId="2648569777" sldId="711"/>
            <ac:spMk id="74" creationId="{76013FAE-76E0-40D4-AEF9-FBA27E169732}"/>
          </ac:spMkLst>
        </pc:spChg>
        <pc:spChg chg="mod">
          <ac:chgData name="Siddharth Harisankar" userId="e0bcdbd0-38b1-4f04-904b-878237e0514e" providerId="ADAL" clId="{C60A4992-8F66-4C9B-8329-6D165390F93B}" dt="2020-03-11T18:34:58.533" v="7931"/>
          <ac:spMkLst>
            <pc:docMk/>
            <pc:sldMk cId="2648569777" sldId="711"/>
            <ac:spMk id="75" creationId="{20A75E27-8A57-45EC-AB89-D85A3AC2D639}"/>
          </ac:spMkLst>
        </pc:spChg>
        <pc:spChg chg="mod">
          <ac:chgData name="Siddharth Harisankar" userId="e0bcdbd0-38b1-4f04-904b-878237e0514e" providerId="ADAL" clId="{C60A4992-8F66-4C9B-8329-6D165390F93B}" dt="2020-03-11T18:34:58.534" v="7933"/>
          <ac:spMkLst>
            <pc:docMk/>
            <pc:sldMk cId="2648569777" sldId="711"/>
            <ac:spMk id="76" creationId="{7D94126C-CA88-4BF7-8C83-16EF2182A803}"/>
          </ac:spMkLst>
        </pc:spChg>
        <pc:spChg chg="mod">
          <ac:chgData name="Siddharth Harisankar" userId="e0bcdbd0-38b1-4f04-904b-878237e0514e" providerId="ADAL" clId="{C60A4992-8F66-4C9B-8329-6D165390F93B}" dt="2020-03-11T18:34:58.534" v="7934"/>
          <ac:spMkLst>
            <pc:docMk/>
            <pc:sldMk cId="2648569777" sldId="711"/>
            <ac:spMk id="77" creationId="{8672DFB2-2D77-47FC-96FF-F5A9F06792F5}"/>
          </ac:spMkLst>
        </pc:spChg>
        <pc:spChg chg="del mod ord">
          <ac:chgData name="Siddharth Harisankar" userId="e0bcdbd0-38b1-4f04-904b-878237e0514e" providerId="ADAL" clId="{C60A4992-8F66-4C9B-8329-6D165390F93B}" dt="2020-03-11T18:30:19.027" v="6146" actId="478"/>
          <ac:spMkLst>
            <pc:docMk/>
            <pc:sldMk cId="2648569777" sldId="711"/>
            <ac:spMk id="78" creationId="{BC1BB4AC-582E-450D-83B8-572E8B7E8B50}"/>
          </ac:spMkLst>
        </pc:spChg>
        <pc:spChg chg="mod ord">
          <ac:chgData name="Siddharth Harisankar" userId="e0bcdbd0-38b1-4f04-904b-878237e0514e" providerId="ADAL" clId="{C60A4992-8F66-4C9B-8329-6D165390F93B}" dt="2020-03-11T18:34:58.536" v="7936"/>
          <ac:spMkLst>
            <pc:docMk/>
            <pc:sldMk cId="2648569777" sldId="711"/>
            <ac:spMk id="79" creationId="{01563A8F-7288-41B8-A24C-9F5DAED2E0BB}"/>
          </ac:spMkLst>
        </pc:spChg>
        <pc:spChg chg="add mod ord">
          <ac:chgData name="Siddharth Harisankar" userId="e0bcdbd0-38b1-4f04-904b-878237e0514e" providerId="ADAL" clId="{C60A4992-8F66-4C9B-8329-6D165390F93B}" dt="2020-03-11T18:34:58.539" v="7946"/>
          <ac:spMkLst>
            <pc:docMk/>
            <pc:sldMk cId="2648569777" sldId="711"/>
            <ac:spMk id="84" creationId="{87AFB0EE-2B74-4632-B24D-24D65FF35A17}"/>
          </ac:spMkLst>
        </pc:spChg>
        <pc:spChg chg="add del mod ord">
          <ac:chgData name="Siddharth Harisankar" userId="e0bcdbd0-38b1-4f04-904b-878237e0514e" providerId="ADAL" clId="{C60A4992-8F66-4C9B-8329-6D165390F93B}" dt="2020-03-11T18:34:20.966" v="6673"/>
          <ac:spMkLst>
            <pc:docMk/>
            <pc:sldMk cId="2648569777" sldId="711"/>
            <ac:spMk id="85" creationId="{B81B9EA5-7BDD-40D9-960D-9E56DA4EA139}"/>
          </ac:spMkLst>
        </pc:spChg>
        <pc:spChg chg="add del mod ord">
          <ac:chgData name="Siddharth Harisankar" userId="e0bcdbd0-38b1-4f04-904b-878237e0514e" providerId="ADAL" clId="{C60A4992-8F66-4C9B-8329-6D165390F93B}" dt="2020-03-11T18:34:20.975" v="6684"/>
          <ac:spMkLst>
            <pc:docMk/>
            <pc:sldMk cId="2648569777" sldId="711"/>
            <ac:spMk id="86" creationId="{C5DA12D1-88FC-40B4-ADBB-76FC16D0BEA5}"/>
          </ac:spMkLst>
        </pc:spChg>
        <pc:spChg chg="add del mod">
          <ac:chgData name="Siddharth Harisankar" userId="e0bcdbd0-38b1-4f04-904b-878237e0514e" providerId="ADAL" clId="{C60A4992-8F66-4C9B-8329-6D165390F93B}" dt="2020-03-11T18:34:20.984" v="6694"/>
          <ac:spMkLst>
            <pc:docMk/>
            <pc:sldMk cId="2648569777" sldId="711"/>
            <ac:spMk id="88" creationId="{89571846-3006-4F12-87E5-2AA3C9482949}"/>
          </ac:spMkLst>
        </pc:spChg>
        <pc:spChg chg="add del mod ord">
          <ac:chgData name="Siddharth Harisankar" userId="e0bcdbd0-38b1-4f04-904b-878237e0514e" providerId="ADAL" clId="{C60A4992-8F66-4C9B-8329-6D165390F93B}" dt="2020-03-11T18:34:20.991" v="6707"/>
          <ac:spMkLst>
            <pc:docMk/>
            <pc:sldMk cId="2648569777" sldId="711"/>
            <ac:spMk id="89" creationId="{B0E868A0-5153-46E8-82BB-B6742D98F065}"/>
          </ac:spMkLst>
        </pc:spChg>
        <pc:spChg chg="add del mod ord">
          <ac:chgData name="Siddharth Harisankar" userId="e0bcdbd0-38b1-4f04-904b-878237e0514e" providerId="ADAL" clId="{C60A4992-8F66-4C9B-8329-6D165390F93B}" dt="2020-03-11T18:34:21.002" v="6718"/>
          <ac:spMkLst>
            <pc:docMk/>
            <pc:sldMk cId="2648569777" sldId="711"/>
            <ac:spMk id="91" creationId="{5584029F-8C30-41B3-9A9D-A4D956FDB7EE}"/>
          </ac:spMkLst>
        </pc:spChg>
        <pc:spChg chg="add del mod">
          <ac:chgData name="Siddharth Harisankar" userId="e0bcdbd0-38b1-4f04-904b-878237e0514e" providerId="ADAL" clId="{C60A4992-8F66-4C9B-8329-6D165390F93B}" dt="2020-03-11T18:34:21.012" v="6728"/>
          <ac:spMkLst>
            <pc:docMk/>
            <pc:sldMk cId="2648569777" sldId="711"/>
            <ac:spMk id="92" creationId="{198788E5-ED70-49BE-9AD2-1D0AB358E226}"/>
          </ac:spMkLst>
        </pc:spChg>
        <pc:spChg chg="add del mod ord">
          <ac:chgData name="Siddharth Harisankar" userId="e0bcdbd0-38b1-4f04-904b-878237e0514e" providerId="ADAL" clId="{C60A4992-8F66-4C9B-8329-6D165390F93B}" dt="2020-03-11T18:34:21.024" v="6741"/>
          <ac:spMkLst>
            <pc:docMk/>
            <pc:sldMk cId="2648569777" sldId="711"/>
            <ac:spMk id="93" creationId="{F1A84CF4-E41F-4F07-8CF8-ECD4D2DE5886}"/>
          </ac:spMkLst>
        </pc:spChg>
        <pc:spChg chg="add del mod ord">
          <ac:chgData name="Siddharth Harisankar" userId="e0bcdbd0-38b1-4f04-904b-878237e0514e" providerId="ADAL" clId="{C60A4992-8F66-4C9B-8329-6D165390F93B}" dt="2020-03-11T18:34:21.038" v="6752"/>
          <ac:spMkLst>
            <pc:docMk/>
            <pc:sldMk cId="2648569777" sldId="711"/>
            <ac:spMk id="94" creationId="{E7CBB290-DFA3-4C0F-A5D8-6EE1239B69BD}"/>
          </ac:spMkLst>
        </pc:spChg>
        <pc:spChg chg="add del mod">
          <ac:chgData name="Siddharth Harisankar" userId="e0bcdbd0-38b1-4f04-904b-878237e0514e" providerId="ADAL" clId="{C60A4992-8F66-4C9B-8329-6D165390F93B}" dt="2020-03-11T18:34:21.050" v="6762"/>
          <ac:spMkLst>
            <pc:docMk/>
            <pc:sldMk cId="2648569777" sldId="711"/>
            <ac:spMk id="95" creationId="{E741BA3C-0E9C-40FD-A633-DCF1A9A3659B}"/>
          </ac:spMkLst>
        </pc:spChg>
        <pc:spChg chg="mod">
          <ac:chgData name="Siddharth Harisankar" userId="e0bcdbd0-38b1-4f04-904b-878237e0514e" providerId="ADAL" clId="{C60A4992-8F66-4C9B-8329-6D165390F93B}" dt="2020-03-11T18:34:58.530" v="7922"/>
          <ac:spMkLst>
            <pc:docMk/>
            <pc:sldMk cId="2648569777" sldId="711"/>
            <ac:spMk id="96" creationId="{13CED523-D497-4AE4-9D99-FFB688D5A777}"/>
          </ac:spMkLst>
        </pc:spChg>
        <pc:spChg chg="mod">
          <ac:chgData name="Siddharth Harisankar" userId="e0bcdbd0-38b1-4f04-904b-878237e0514e" providerId="ADAL" clId="{C60A4992-8F66-4C9B-8329-6D165390F93B}" dt="2020-03-11T18:34:58.531" v="7924"/>
          <ac:spMkLst>
            <pc:docMk/>
            <pc:sldMk cId="2648569777" sldId="711"/>
            <ac:spMk id="97" creationId="{85937C68-D38C-4CF6-AABD-37159EF38468}"/>
          </ac:spMkLst>
        </pc:spChg>
        <pc:spChg chg="add del mod ord">
          <ac:chgData name="Siddharth Harisankar" userId="e0bcdbd0-38b1-4f04-904b-878237e0514e" providerId="ADAL" clId="{C60A4992-8F66-4C9B-8329-6D165390F93B}" dt="2020-03-11T18:34:34.387" v="7072"/>
          <ac:spMkLst>
            <pc:docMk/>
            <pc:sldMk cId="2648569777" sldId="711"/>
            <ac:spMk id="105" creationId="{8DF8A1B2-15CE-4B5B-9400-3337A34E5B67}"/>
          </ac:spMkLst>
        </pc:spChg>
        <pc:spChg chg="add del mod ord">
          <ac:chgData name="Siddharth Harisankar" userId="e0bcdbd0-38b1-4f04-904b-878237e0514e" providerId="ADAL" clId="{C60A4992-8F66-4C9B-8329-6D165390F93B}" dt="2020-03-11T18:34:34.395" v="7083"/>
          <ac:spMkLst>
            <pc:docMk/>
            <pc:sldMk cId="2648569777" sldId="711"/>
            <ac:spMk id="109" creationId="{C8BAFF4A-232F-4C18-89E7-8FB735D97F5E}"/>
          </ac:spMkLst>
        </pc:spChg>
        <pc:spChg chg="add del mod">
          <ac:chgData name="Siddharth Harisankar" userId="e0bcdbd0-38b1-4f04-904b-878237e0514e" providerId="ADAL" clId="{C60A4992-8F66-4C9B-8329-6D165390F93B}" dt="2020-03-11T18:34:34.403" v="7093"/>
          <ac:spMkLst>
            <pc:docMk/>
            <pc:sldMk cId="2648569777" sldId="711"/>
            <ac:spMk id="110" creationId="{75A34957-76CA-4F28-BA67-298A8C3AB3F7}"/>
          </ac:spMkLst>
        </pc:spChg>
        <pc:spChg chg="add del mod ord">
          <ac:chgData name="Siddharth Harisankar" userId="e0bcdbd0-38b1-4f04-904b-878237e0514e" providerId="ADAL" clId="{C60A4992-8F66-4C9B-8329-6D165390F93B}" dt="2020-03-11T18:34:34.412" v="7106"/>
          <ac:spMkLst>
            <pc:docMk/>
            <pc:sldMk cId="2648569777" sldId="711"/>
            <ac:spMk id="111" creationId="{58966D05-F519-4175-830E-0FA0C8E56145}"/>
          </ac:spMkLst>
        </pc:spChg>
        <pc:spChg chg="add del mod ord">
          <ac:chgData name="Siddharth Harisankar" userId="e0bcdbd0-38b1-4f04-904b-878237e0514e" providerId="ADAL" clId="{C60A4992-8F66-4C9B-8329-6D165390F93B}" dt="2020-03-11T18:34:34.422" v="7117"/>
          <ac:spMkLst>
            <pc:docMk/>
            <pc:sldMk cId="2648569777" sldId="711"/>
            <ac:spMk id="112" creationId="{4821A136-AFEE-4A11-965E-355A5AEDACB8}"/>
          </ac:spMkLst>
        </pc:spChg>
        <pc:spChg chg="add del mod">
          <ac:chgData name="Siddharth Harisankar" userId="e0bcdbd0-38b1-4f04-904b-878237e0514e" providerId="ADAL" clId="{C60A4992-8F66-4C9B-8329-6D165390F93B}" dt="2020-03-11T18:34:34.430" v="7127"/>
          <ac:spMkLst>
            <pc:docMk/>
            <pc:sldMk cId="2648569777" sldId="711"/>
            <ac:spMk id="113" creationId="{5110CF19-4E05-4415-82C7-7FC55E33A1A6}"/>
          </ac:spMkLst>
        </pc:spChg>
        <pc:spChg chg="add del mod ord">
          <ac:chgData name="Siddharth Harisankar" userId="e0bcdbd0-38b1-4f04-904b-878237e0514e" providerId="ADAL" clId="{C60A4992-8F66-4C9B-8329-6D165390F93B}" dt="2020-03-11T18:34:34.439" v="7140"/>
          <ac:spMkLst>
            <pc:docMk/>
            <pc:sldMk cId="2648569777" sldId="711"/>
            <ac:spMk id="114" creationId="{35DEAAD1-B748-4B67-8A1B-EF91D18E3E95}"/>
          </ac:spMkLst>
        </pc:spChg>
        <pc:spChg chg="add del mod ord">
          <ac:chgData name="Siddharth Harisankar" userId="e0bcdbd0-38b1-4f04-904b-878237e0514e" providerId="ADAL" clId="{C60A4992-8F66-4C9B-8329-6D165390F93B}" dt="2020-03-11T18:34:34.448" v="7151"/>
          <ac:spMkLst>
            <pc:docMk/>
            <pc:sldMk cId="2648569777" sldId="711"/>
            <ac:spMk id="115" creationId="{F6B8067C-D2EE-4AFB-BCE3-4F1FB47883C1}"/>
          </ac:spMkLst>
        </pc:spChg>
        <pc:spChg chg="add del mod">
          <ac:chgData name="Siddharth Harisankar" userId="e0bcdbd0-38b1-4f04-904b-878237e0514e" providerId="ADAL" clId="{C60A4992-8F66-4C9B-8329-6D165390F93B}" dt="2020-03-11T18:34:34.457" v="7161"/>
          <ac:spMkLst>
            <pc:docMk/>
            <pc:sldMk cId="2648569777" sldId="711"/>
            <ac:spMk id="116" creationId="{1494DFF4-5E31-4169-924D-C79EAACCD0AE}"/>
          </ac:spMkLst>
        </pc:spChg>
        <pc:spChg chg="add mod ord">
          <ac:chgData name="Siddharth Harisankar" userId="e0bcdbd0-38b1-4f04-904b-878237e0514e" providerId="ADAL" clId="{C60A4992-8F66-4C9B-8329-6D165390F93B}" dt="2020-03-11T18:34:58.515" v="7889"/>
          <ac:spMkLst>
            <pc:docMk/>
            <pc:sldMk cId="2648569777" sldId="711"/>
            <ac:spMk id="118" creationId="{5DCB98E7-F0E2-4906-B5D5-CA79028FEBD4}"/>
          </ac:spMkLst>
        </pc:spChg>
        <pc:spChg chg="add mod ord">
          <ac:chgData name="Siddharth Harisankar" userId="e0bcdbd0-38b1-4f04-904b-878237e0514e" providerId="ADAL" clId="{C60A4992-8F66-4C9B-8329-6D165390F93B}" dt="2020-03-11T18:34:58.513" v="7887"/>
          <ac:spMkLst>
            <pc:docMk/>
            <pc:sldMk cId="2648569777" sldId="711"/>
            <ac:spMk id="119" creationId="{B472D855-A8EE-4F5A-85C6-287D34958B2B}"/>
          </ac:spMkLst>
        </pc:spChg>
        <pc:spChg chg="add mod">
          <ac:chgData name="Siddharth Harisankar" userId="e0bcdbd0-38b1-4f04-904b-878237e0514e" providerId="ADAL" clId="{C60A4992-8F66-4C9B-8329-6D165390F93B}" dt="2020-03-11T18:34:58.510" v="7884"/>
          <ac:spMkLst>
            <pc:docMk/>
            <pc:sldMk cId="2648569777" sldId="711"/>
            <ac:spMk id="120" creationId="{2C228F92-2AD3-43F5-BE52-3205D5AF643A}"/>
          </ac:spMkLst>
        </pc:spChg>
        <pc:spChg chg="add mod ord">
          <ac:chgData name="Siddharth Harisankar" userId="e0bcdbd0-38b1-4f04-904b-878237e0514e" providerId="ADAL" clId="{C60A4992-8F66-4C9B-8329-6D165390F93B}" dt="2020-03-11T18:34:58.517" v="7893"/>
          <ac:spMkLst>
            <pc:docMk/>
            <pc:sldMk cId="2648569777" sldId="711"/>
            <ac:spMk id="121" creationId="{AC65C3B9-A221-49D4-8964-2111112285D6}"/>
          </ac:spMkLst>
        </pc:spChg>
        <pc:spChg chg="add mod ord">
          <ac:chgData name="Siddharth Harisankar" userId="e0bcdbd0-38b1-4f04-904b-878237e0514e" providerId="ADAL" clId="{C60A4992-8F66-4C9B-8329-6D165390F93B}" dt="2020-03-11T18:34:58.516" v="7891"/>
          <ac:spMkLst>
            <pc:docMk/>
            <pc:sldMk cId="2648569777" sldId="711"/>
            <ac:spMk id="122" creationId="{E82ED47F-E55C-4DDF-9CF9-AF6CE1931B7F}"/>
          </ac:spMkLst>
        </pc:spChg>
        <pc:spChg chg="add mod">
          <ac:chgData name="Siddharth Harisankar" userId="e0bcdbd0-38b1-4f04-904b-878237e0514e" providerId="ADAL" clId="{C60A4992-8F66-4C9B-8329-6D165390F93B}" dt="2020-03-11T18:34:58.509" v="7883"/>
          <ac:spMkLst>
            <pc:docMk/>
            <pc:sldMk cId="2648569777" sldId="711"/>
            <ac:spMk id="123" creationId="{72DE6E59-B5BD-4A77-84C9-634DBA3678CE}"/>
          </ac:spMkLst>
        </pc:spChg>
        <pc:spChg chg="add mod ord">
          <ac:chgData name="Siddharth Harisankar" userId="e0bcdbd0-38b1-4f04-904b-878237e0514e" providerId="ADAL" clId="{C60A4992-8F66-4C9B-8329-6D165390F93B}" dt="2020-03-11T18:34:58.517" v="7895"/>
          <ac:spMkLst>
            <pc:docMk/>
            <pc:sldMk cId="2648569777" sldId="711"/>
            <ac:spMk id="124" creationId="{5DE707B3-59A3-4281-8F0B-CF29E6AE58B8}"/>
          </ac:spMkLst>
        </pc:spChg>
        <pc:spChg chg="add mod ord">
          <ac:chgData name="Siddharth Harisankar" userId="e0bcdbd0-38b1-4f04-904b-878237e0514e" providerId="ADAL" clId="{C60A4992-8F66-4C9B-8329-6D165390F93B}" dt="2020-03-11T18:34:58.518" v="7897"/>
          <ac:spMkLst>
            <pc:docMk/>
            <pc:sldMk cId="2648569777" sldId="711"/>
            <ac:spMk id="125" creationId="{B976C497-C1F5-4ABD-90BD-CAE428B165D5}"/>
          </ac:spMkLst>
        </pc:spChg>
        <pc:spChg chg="add mod">
          <ac:chgData name="Siddharth Harisankar" userId="e0bcdbd0-38b1-4f04-904b-878237e0514e" providerId="ADAL" clId="{C60A4992-8F66-4C9B-8329-6D165390F93B}" dt="2020-03-11T18:34:58.512" v="7885"/>
          <ac:spMkLst>
            <pc:docMk/>
            <pc:sldMk cId="2648569777" sldId="711"/>
            <ac:spMk id="126" creationId="{10F2D4A3-7906-4EB9-AD53-5704D6B90C54}"/>
          </ac:spMkLst>
        </pc:spChg>
        <pc:graphicFrameChg chg="mod ord">
          <ac:chgData name="Siddharth Harisankar" userId="e0bcdbd0-38b1-4f04-904b-878237e0514e" providerId="ADAL" clId="{C60A4992-8F66-4C9B-8329-6D165390F93B}" dt="2020-03-11T18:35:04.857" v="8270"/>
          <ac:graphicFrameMkLst>
            <pc:docMk/>
            <pc:sldMk cId="2648569777" sldId="711"/>
            <ac:graphicFrameMk id="4" creationId="{A9F9C243-F6F9-4217-BE94-EDB2B74004C1}"/>
          </ac:graphicFrameMkLst>
        </pc:graphicFrameChg>
        <pc:graphicFrameChg chg="del">
          <ac:chgData name="Siddharth Harisankar" userId="e0bcdbd0-38b1-4f04-904b-878237e0514e" providerId="ADAL" clId="{C60A4992-8F66-4C9B-8329-6D165390F93B}" dt="2020-03-11T18:29:30.784" v="5575"/>
          <ac:graphicFrameMkLst>
            <pc:docMk/>
            <pc:sldMk cId="2648569777" sldId="711"/>
            <ac:graphicFrameMk id="81" creationId="{FE29396A-D879-4A68-89EA-27A52BA992A6}"/>
          </ac:graphicFrameMkLst>
        </pc:graphicFrameChg>
        <pc:graphicFrameChg chg="add del mod">
          <ac:chgData name="Siddharth Harisankar" userId="e0bcdbd0-38b1-4f04-904b-878237e0514e" providerId="ADAL" clId="{C60A4992-8F66-4C9B-8329-6D165390F93B}" dt="2020-03-11T18:29:41.307" v="6024"/>
          <ac:graphicFrameMkLst>
            <pc:docMk/>
            <pc:sldMk cId="2648569777" sldId="711"/>
            <ac:graphicFrameMk id="83" creationId="{17D21A19-CBD9-4ED3-88A1-DEAD3651151F}"/>
          </ac:graphicFrameMkLst>
        </pc:graphicFrameChg>
        <pc:graphicFrameChg chg="add del mod">
          <ac:chgData name="Siddharth Harisankar" userId="e0bcdbd0-38b1-4f04-904b-878237e0514e" providerId="ADAL" clId="{C60A4992-8F66-4C9B-8329-6D165390F93B}" dt="2020-03-11T18:33:58.995" v="6437"/>
          <ac:graphicFrameMkLst>
            <pc:docMk/>
            <pc:sldMk cId="2648569777" sldId="711"/>
            <ac:graphicFrameMk id="87" creationId="{42869A24-D356-4245-B1B8-2719778FA933}"/>
          </ac:graphicFrameMkLst>
        </pc:graphicFrameChg>
        <pc:graphicFrameChg chg="add del mod">
          <ac:chgData name="Siddharth Harisankar" userId="e0bcdbd0-38b1-4f04-904b-878237e0514e" providerId="ADAL" clId="{C60A4992-8F66-4C9B-8329-6D165390F93B}" dt="2020-03-11T18:34:21.143" v="6836"/>
          <ac:graphicFrameMkLst>
            <pc:docMk/>
            <pc:sldMk cId="2648569777" sldId="711"/>
            <ac:graphicFrameMk id="108" creationId="{82948F8F-9DF3-448B-9AC9-60DC2365AC18}"/>
          </ac:graphicFrameMkLst>
        </pc:graphicFrameChg>
        <pc:graphicFrameChg chg="add del mod">
          <ac:chgData name="Siddharth Harisankar" userId="e0bcdbd0-38b1-4f04-904b-878237e0514e" providerId="ADAL" clId="{C60A4992-8F66-4C9B-8329-6D165390F93B}" dt="2020-03-11T18:34:34.520" v="7235"/>
          <ac:graphicFrameMkLst>
            <pc:docMk/>
            <pc:sldMk cId="2648569777" sldId="711"/>
            <ac:graphicFrameMk id="117" creationId="{AD65F06E-A218-4F0B-AC64-27E84FF34280}"/>
          </ac:graphicFrameMkLst>
        </pc:graphicFrameChg>
        <pc:graphicFrameChg chg="add del mod">
          <ac:chgData name="Siddharth Harisankar" userId="e0bcdbd0-38b1-4f04-904b-878237e0514e" providerId="ADAL" clId="{C60A4992-8F66-4C9B-8329-6D165390F93B}" dt="2020-03-11T18:34:39.767" v="7310"/>
          <ac:graphicFrameMkLst>
            <pc:docMk/>
            <pc:sldMk cId="2648569777" sldId="711"/>
            <ac:graphicFrameMk id="127" creationId="{0D33FC00-2A81-49EE-9705-B2C7F5A4E564}"/>
          </ac:graphicFrameMkLst>
        </pc:graphicFrameChg>
        <pc:graphicFrameChg chg="add del mod">
          <ac:chgData name="Siddharth Harisankar" userId="e0bcdbd0-38b1-4f04-904b-878237e0514e" providerId="ADAL" clId="{C60A4992-8F66-4C9B-8329-6D165390F93B}" dt="2020-03-11T18:34:42.490" v="7399"/>
          <ac:graphicFrameMkLst>
            <pc:docMk/>
            <pc:sldMk cId="2648569777" sldId="711"/>
            <ac:graphicFrameMk id="128" creationId="{CFD8E9DA-3D8E-4F22-949B-235D0A98F7C3}"/>
          </ac:graphicFrameMkLst>
        </pc:graphicFrameChg>
        <pc:graphicFrameChg chg="add del mod">
          <ac:chgData name="Siddharth Harisankar" userId="e0bcdbd0-38b1-4f04-904b-878237e0514e" providerId="ADAL" clId="{C60A4992-8F66-4C9B-8329-6D165390F93B}" dt="2020-03-11T18:34:46.544" v="7479"/>
          <ac:graphicFrameMkLst>
            <pc:docMk/>
            <pc:sldMk cId="2648569777" sldId="711"/>
            <ac:graphicFrameMk id="129" creationId="{9A842BA0-19D4-4597-9917-5BB594B60BEE}"/>
          </ac:graphicFrameMkLst>
        </pc:graphicFrameChg>
        <pc:graphicFrameChg chg="add del mod">
          <ac:chgData name="Siddharth Harisankar" userId="e0bcdbd0-38b1-4f04-904b-878237e0514e" providerId="ADAL" clId="{C60A4992-8F66-4C9B-8329-6D165390F93B}" dt="2020-03-11T18:34:48.627" v="7559"/>
          <ac:graphicFrameMkLst>
            <pc:docMk/>
            <pc:sldMk cId="2648569777" sldId="711"/>
            <ac:graphicFrameMk id="130" creationId="{E435ADBA-FEA3-4B1F-AC28-4B692D7A2AA4}"/>
          </ac:graphicFrameMkLst>
        </pc:graphicFrameChg>
        <pc:graphicFrameChg chg="add del mod">
          <ac:chgData name="Siddharth Harisankar" userId="e0bcdbd0-38b1-4f04-904b-878237e0514e" providerId="ADAL" clId="{C60A4992-8F66-4C9B-8329-6D165390F93B}" dt="2020-03-11T18:34:49.985" v="7634"/>
          <ac:graphicFrameMkLst>
            <pc:docMk/>
            <pc:sldMk cId="2648569777" sldId="711"/>
            <ac:graphicFrameMk id="131" creationId="{64556225-6A1F-4AF9-BAA0-953CF251EDA8}"/>
          </ac:graphicFrameMkLst>
        </pc:graphicFrameChg>
        <pc:graphicFrameChg chg="add del mod">
          <ac:chgData name="Siddharth Harisankar" userId="e0bcdbd0-38b1-4f04-904b-878237e0514e" providerId="ADAL" clId="{C60A4992-8F66-4C9B-8329-6D165390F93B}" dt="2020-03-11T18:34:55.300" v="7714"/>
          <ac:graphicFrameMkLst>
            <pc:docMk/>
            <pc:sldMk cId="2648569777" sldId="711"/>
            <ac:graphicFrameMk id="132" creationId="{E8AFA831-6E52-4349-8A9B-E56858B5B515}"/>
          </ac:graphicFrameMkLst>
        </pc:graphicFrameChg>
        <pc:graphicFrameChg chg="add del mod">
          <ac:chgData name="Siddharth Harisankar" userId="e0bcdbd0-38b1-4f04-904b-878237e0514e" providerId="ADAL" clId="{C60A4992-8F66-4C9B-8329-6D165390F93B}" dt="2020-03-11T18:34:56.133" v="7794"/>
          <ac:graphicFrameMkLst>
            <pc:docMk/>
            <pc:sldMk cId="2648569777" sldId="711"/>
            <ac:graphicFrameMk id="133" creationId="{6BD0D920-FF5E-4DEA-BF83-2D1A6E241824}"/>
          </ac:graphicFrameMkLst>
        </pc:graphicFrameChg>
        <pc:graphicFrameChg chg="add del mod">
          <ac:chgData name="Siddharth Harisankar" userId="e0bcdbd0-38b1-4f04-904b-878237e0514e" providerId="ADAL" clId="{C60A4992-8F66-4C9B-8329-6D165390F93B}" dt="2020-03-11T18:34:58.476" v="7874"/>
          <ac:graphicFrameMkLst>
            <pc:docMk/>
            <pc:sldMk cId="2648569777" sldId="711"/>
            <ac:graphicFrameMk id="134" creationId="{F4FA2A2C-C946-4482-B569-6BFB95FD9183}"/>
          </ac:graphicFrameMkLst>
        </pc:graphicFrameChg>
        <pc:graphicFrameChg chg="add mod">
          <ac:chgData name="Siddharth Harisankar" userId="e0bcdbd0-38b1-4f04-904b-878237e0514e" providerId="ADAL" clId="{C60A4992-8F66-4C9B-8329-6D165390F93B}" dt="2020-03-11T18:34:58.508" v="7882"/>
          <ac:graphicFrameMkLst>
            <pc:docMk/>
            <pc:sldMk cId="2648569777" sldId="711"/>
            <ac:graphicFrameMk id="135" creationId="{C1132299-10E5-4FDD-964A-8B189120161D}"/>
          </ac:graphicFrameMkLst>
        </pc:graphicFrameChg>
        <pc:picChg chg="mod ord">
          <ac:chgData name="Siddharth Harisankar" userId="e0bcdbd0-38b1-4f04-904b-878237e0514e" providerId="ADAL" clId="{C60A4992-8F66-4C9B-8329-6D165390F93B}" dt="2020-03-11T18:34:58.537" v="7938"/>
          <ac:picMkLst>
            <pc:docMk/>
            <pc:sldMk cId="2648569777" sldId="711"/>
            <ac:picMk id="80" creationId="{BC267C1D-D843-4D9A-8D63-B215485810EC}"/>
          </ac:picMkLst>
        </pc:picChg>
        <pc:picChg chg="mod ord">
          <ac:chgData name="Siddharth Harisankar" userId="e0bcdbd0-38b1-4f04-904b-878237e0514e" providerId="ADAL" clId="{C60A4992-8F66-4C9B-8329-6D165390F93B}" dt="2020-03-11T18:34:58.538" v="7940"/>
          <ac:picMkLst>
            <pc:docMk/>
            <pc:sldMk cId="2648569777" sldId="711"/>
            <ac:picMk id="82" creationId="{F795E2FA-131A-469D-8F38-B21974A3A160}"/>
          </ac:picMkLst>
        </pc:picChg>
        <pc:cxnChg chg="add mod ord">
          <ac:chgData name="Siddharth Harisankar" userId="e0bcdbd0-38b1-4f04-904b-878237e0514e" providerId="ADAL" clId="{C60A4992-8F66-4C9B-8329-6D165390F93B}" dt="2020-03-11T18:34:58.538" v="7942"/>
          <ac:cxnSpMkLst>
            <pc:docMk/>
            <pc:sldMk cId="2648569777" sldId="711"/>
            <ac:cxnSpMk id="38" creationId="{F84849A4-85B1-4872-B236-69D0BD9A9EFF}"/>
          </ac:cxnSpMkLst>
        </pc:cxnChg>
        <pc:cxnChg chg="mod ord">
          <ac:chgData name="Siddharth Harisankar" userId="e0bcdbd0-38b1-4f04-904b-878237e0514e" providerId="ADAL" clId="{C60A4992-8F66-4C9B-8329-6D165390F93B}" dt="2020-03-11T18:34:58.521" v="7903"/>
          <ac:cxnSpMkLst>
            <pc:docMk/>
            <pc:sldMk cId="2648569777" sldId="711"/>
            <ac:cxnSpMk id="45" creationId="{0774C5DD-D75D-44A2-BE2D-BA6571A98F1B}"/>
          </ac:cxnSpMkLst>
        </pc:cxnChg>
        <pc:cxnChg chg="mod ord">
          <ac:chgData name="Siddharth Harisankar" userId="e0bcdbd0-38b1-4f04-904b-878237e0514e" providerId="ADAL" clId="{C60A4992-8F66-4C9B-8329-6D165390F93B}" dt="2020-03-11T18:34:58.520" v="7901"/>
          <ac:cxnSpMkLst>
            <pc:docMk/>
            <pc:sldMk cId="2648569777" sldId="711"/>
            <ac:cxnSpMk id="46" creationId="{6ABB37E2-90A7-4810-A217-FB8147862489}"/>
          </ac:cxnSpMkLst>
        </pc:cxnChg>
        <pc:cxnChg chg="mod ord">
          <ac:chgData name="Siddharth Harisankar" userId="e0bcdbd0-38b1-4f04-904b-878237e0514e" providerId="ADAL" clId="{C60A4992-8F66-4C9B-8329-6D165390F93B}" dt="2020-03-11T18:34:58.519" v="7899"/>
          <ac:cxnSpMkLst>
            <pc:docMk/>
            <pc:sldMk cId="2648569777" sldId="711"/>
            <ac:cxnSpMk id="47" creationId="{C79D5945-38C1-4D43-A76A-52E73B606542}"/>
          </ac:cxnSpMkLst>
        </pc:cxnChg>
        <pc:cxnChg chg="mod ord">
          <ac:chgData name="Siddharth Harisankar" userId="e0bcdbd0-38b1-4f04-904b-878237e0514e" providerId="ADAL" clId="{C60A4992-8F66-4C9B-8329-6D165390F93B}" dt="2020-03-11T18:34:58.523" v="7909"/>
          <ac:cxnSpMkLst>
            <pc:docMk/>
            <pc:sldMk cId="2648569777" sldId="711"/>
            <ac:cxnSpMk id="48" creationId="{E0E39722-425A-4A64-9AAA-B64B85DDB7F9}"/>
          </ac:cxnSpMkLst>
        </pc:cxnChg>
        <pc:cxnChg chg="mod ord">
          <ac:chgData name="Siddharth Harisankar" userId="e0bcdbd0-38b1-4f04-904b-878237e0514e" providerId="ADAL" clId="{C60A4992-8F66-4C9B-8329-6D165390F93B}" dt="2020-03-11T18:34:58.521" v="7907"/>
          <ac:cxnSpMkLst>
            <pc:docMk/>
            <pc:sldMk cId="2648569777" sldId="711"/>
            <ac:cxnSpMk id="49" creationId="{53600CEC-7CFC-4C4A-A7AE-29B28DF9F5F8}"/>
          </ac:cxnSpMkLst>
        </pc:cxnChg>
        <pc:cxnChg chg="mod ord">
          <ac:chgData name="Siddharth Harisankar" userId="e0bcdbd0-38b1-4f04-904b-878237e0514e" providerId="ADAL" clId="{C60A4992-8F66-4C9B-8329-6D165390F93B}" dt="2020-03-11T18:34:58.521" v="7905"/>
          <ac:cxnSpMkLst>
            <pc:docMk/>
            <pc:sldMk cId="2648569777" sldId="711"/>
            <ac:cxnSpMk id="50" creationId="{D4043434-A5DA-46DC-B5CB-2089079A191D}"/>
          </ac:cxnSpMkLst>
        </pc:cxnChg>
        <pc:cxnChg chg="mod ord">
          <ac:chgData name="Siddharth Harisankar" userId="e0bcdbd0-38b1-4f04-904b-878237e0514e" providerId="ADAL" clId="{C60A4992-8F66-4C9B-8329-6D165390F93B}" dt="2020-03-11T18:34:58.523" v="7911"/>
          <ac:cxnSpMkLst>
            <pc:docMk/>
            <pc:sldMk cId="2648569777" sldId="711"/>
            <ac:cxnSpMk id="51" creationId="{3C8E295C-9F8D-4F85-A7FB-198FB2B526CC}"/>
          </ac:cxnSpMkLst>
        </pc:cxnChg>
        <pc:cxnChg chg="mod ord">
          <ac:chgData name="Siddharth Harisankar" userId="e0bcdbd0-38b1-4f04-904b-878237e0514e" providerId="ADAL" clId="{C60A4992-8F66-4C9B-8329-6D165390F93B}" dt="2020-03-11T18:34:58.524" v="7915"/>
          <ac:cxnSpMkLst>
            <pc:docMk/>
            <pc:sldMk cId="2648569777" sldId="711"/>
            <ac:cxnSpMk id="52" creationId="{9F5D826C-D181-4255-B499-8975046E2A9A}"/>
          </ac:cxnSpMkLst>
        </pc:cxnChg>
        <pc:cxnChg chg="mod ord">
          <ac:chgData name="Siddharth Harisankar" userId="e0bcdbd0-38b1-4f04-904b-878237e0514e" providerId="ADAL" clId="{C60A4992-8F66-4C9B-8329-6D165390F93B}" dt="2020-03-11T18:34:58.524" v="7913"/>
          <ac:cxnSpMkLst>
            <pc:docMk/>
            <pc:sldMk cId="2648569777" sldId="711"/>
            <ac:cxnSpMk id="53" creationId="{111F986F-BEFC-4531-B65B-7506055FE1AA}"/>
          </ac:cxnSpMkLst>
        </pc:cxnChg>
        <pc:cxnChg chg="add del mod">
          <ac:chgData name="Siddharth Harisankar" userId="e0bcdbd0-38b1-4f04-904b-878237e0514e" providerId="ADAL" clId="{C60A4992-8F66-4C9B-8329-6D165390F93B}" dt="2020-03-11T18:32:07.457" v="6165" actId="478"/>
          <ac:cxnSpMkLst>
            <pc:docMk/>
            <pc:sldMk cId="2648569777" sldId="711"/>
            <ac:cxnSpMk id="60" creationId="{6789AC48-E64A-47BB-94B1-CFBB731731D2}"/>
          </ac:cxnSpMkLst>
        </pc:cxnChg>
        <pc:cxnChg chg="add mod ord">
          <ac:chgData name="Siddharth Harisankar" userId="e0bcdbd0-38b1-4f04-904b-878237e0514e" providerId="ADAL" clId="{C60A4992-8F66-4C9B-8329-6D165390F93B}" dt="2020-03-11T18:34:58.539" v="7944"/>
          <ac:cxnSpMkLst>
            <pc:docMk/>
            <pc:sldMk cId="2648569777" sldId="711"/>
            <ac:cxnSpMk id="90" creationId="{E836F45D-FF32-4CC3-8D0A-B14B2126CF53}"/>
          </ac:cxnSpMkLst>
        </pc:cxnChg>
      </pc:sldChg>
      <pc:sldChg chg="addSp delSp modSp add">
        <pc:chgData name="Siddharth Harisankar" userId="e0bcdbd0-38b1-4f04-904b-878237e0514e" providerId="ADAL" clId="{C60A4992-8F66-4C9B-8329-6D165390F93B}" dt="2020-03-11T19:07:29.377" v="8319" actId="20577"/>
        <pc:sldMkLst>
          <pc:docMk/>
          <pc:sldMk cId="1204006071" sldId="712"/>
        </pc:sldMkLst>
        <pc:spChg chg="mod">
          <ac:chgData name="Siddharth Harisankar" userId="e0bcdbd0-38b1-4f04-904b-878237e0514e" providerId="ADAL" clId="{C60A4992-8F66-4C9B-8329-6D165390F93B}" dt="2020-03-11T19:07:29.377" v="8319" actId="20577"/>
          <ac:spMkLst>
            <pc:docMk/>
            <pc:sldMk cId="1204006071" sldId="712"/>
            <ac:spMk id="9" creationId="{9091F50D-EB45-46FF-9F95-4F903BBE2788}"/>
          </ac:spMkLst>
        </pc:spChg>
        <pc:picChg chg="add mod">
          <ac:chgData name="Siddharth Harisankar" userId="e0bcdbd0-38b1-4f04-904b-878237e0514e" providerId="ADAL" clId="{C60A4992-8F66-4C9B-8329-6D165390F93B}" dt="2020-03-11T19:07:10.226" v="8293" actId="1076"/>
          <ac:picMkLst>
            <pc:docMk/>
            <pc:sldMk cId="1204006071" sldId="712"/>
            <ac:picMk id="3" creationId="{9FE21363-4532-411A-A140-21C610EB26FD}"/>
          </ac:picMkLst>
        </pc:picChg>
        <pc:picChg chg="del">
          <ac:chgData name="Siddharth Harisankar" userId="e0bcdbd0-38b1-4f04-904b-878237e0514e" providerId="ADAL" clId="{C60A4992-8F66-4C9B-8329-6D165390F93B}" dt="2020-03-11T19:06:48.509" v="8289" actId="478"/>
          <ac:picMkLst>
            <pc:docMk/>
            <pc:sldMk cId="1204006071" sldId="712"/>
            <ac:picMk id="11" creationId="{5D91BBB0-9A21-4A55-AB89-93BD2199C011}"/>
          </ac:picMkLst>
        </pc:picChg>
      </pc:sldChg>
      <pc:sldChg chg="addSp delSp modSp add del">
        <pc:chgData name="Siddharth Harisankar" userId="e0bcdbd0-38b1-4f04-904b-878237e0514e" providerId="ADAL" clId="{C60A4992-8F66-4C9B-8329-6D165390F93B}" dt="2020-03-11T18:35:28.756" v="8274" actId="2696"/>
        <pc:sldMkLst>
          <pc:docMk/>
          <pc:sldMk cId="3192832632" sldId="712"/>
        </pc:sldMkLst>
        <pc:spChg chg="mod ord">
          <ac:chgData name="Siddharth Harisankar" userId="e0bcdbd0-38b1-4f04-904b-878237e0514e" providerId="ADAL" clId="{C60A4992-8F66-4C9B-8329-6D165390F93B}" dt="2020-03-11T18:35:04.823" v="8202"/>
          <ac:spMkLst>
            <pc:docMk/>
            <pc:sldMk cId="3192832632" sldId="712"/>
            <ac:spMk id="2" creationId="{51727749-65AB-4FAC-AC8A-78D01F343C68}"/>
          </ac:spMkLst>
        </pc:spChg>
        <pc:spChg chg="add mod ord">
          <ac:chgData name="Siddharth Harisankar" userId="e0bcdbd0-38b1-4f04-904b-878237e0514e" providerId="ADAL" clId="{C60A4992-8F66-4C9B-8329-6D165390F93B}" dt="2020-03-11T18:35:04.829" v="8211"/>
          <ac:spMkLst>
            <pc:docMk/>
            <pc:sldMk cId="3192832632" sldId="712"/>
            <ac:spMk id="3" creationId="{6BDD7F12-DB43-4376-9EA5-E70903900EA6}"/>
          </ac:spMkLst>
        </pc:spChg>
        <pc:spChg chg="add mod ord">
          <ac:chgData name="Siddharth Harisankar" userId="e0bcdbd0-38b1-4f04-904b-878237e0514e" providerId="ADAL" clId="{C60A4992-8F66-4C9B-8329-6D165390F93B}" dt="2020-03-11T18:35:04.828" v="8209"/>
          <ac:spMkLst>
            <pc:docMk/>
            <pc:sldMk cId="3192832632" sldId="712"/>
            <ac:spMk id="5" creationId="{60E7EDD8-0386-4731-924B-5EF0147DFFBD}"/>
          </ac:spMkLst>
        </pc:spChg>
        <pc:spChg chg="add mod">
          <ac:chgData name="Siddharth Harisankar" userId="e0bcdbd0-38b1-4f04-904b-878237e0514e" providerId="ADAL" clId="{C60A4992-8F66-4C9B-8329-6D165390F93B}" dt="2020-03-11T18:35:04.825" v="8206"/>
          <ac:spMkLst>
            <pc:docMk/>
            <pc:sldMk cId="3192832632" sldId="712"/>
            <ac:spMk id="6" creationId="{AD3B4283-0A26-4B54-9988-51E5BBFDD3D2}"/>
          </ac:spMkLst>
        </pc:spChg>
        <pc:spChg chg="add mod ord">
          <ac:chgData name="Siddharth Harisankar" userId="e0bcdbd0-38b1-4f04-904b-878237e0514e" providerId="ADAL" clId="{C60A4992-8F66-4C9B-8329-6D165390F93B}" dt="2020-03-11T18:35:04.830" v="8213"/>
          <ac:spMkLst>
            <pc:docMk/>
            <pc:sldMk cId="3192832632" sldId="712"/>
            <ac:spMk id="7" creationId="{667D2518-D458-45A1-ADF6-B877F3D1649C}"/>
          </ac:spMkLst>
        </pc:spChg>
        <pc:spChg chg="add mod ord">
          <ac:chgData name="Siddharth Harisankar" userId="e0bcdbd0-38b1-4f04-904b-878237e0514e" providerId="ADAL" clId="{C60A4992-8F66-4C9B-8329-6D165390F93B}" dt="2020-03-11T18:35:04.830" v="8215"/>
          <ac:spMkLst>
            <pc:docMk/>
            <pc:sldMk cId="3192832632" sldId="712"/>
            <ac:spMk id="8" creationId="{831D2C7D-E703-4AFD-90DF-BBB6EF9261F7}"/>
          </ac:spMkLst>
        </pc:spChg>
        <pc:spChg chg="add mod">
          <ac:chgData name="Siddharth Harisankar" userId="e0bcdbd0-38b1-4f04-904b-878237e0514e" providerId="ADAL" clId="{C60A4992-8F66-4C9B-8329-6D165390F93B}" dt="2020-03-11T18:35:04.827" v="8207"/>
          <ac:spMkLst>
            <pc:docMk/>
            <pc:sldMk cId="3192832632" sldId="712"/>
            <ac:spMk id="9" creationId="{3E3C1BE5-674C-420C-9D66-8F3D04EA77A2}"/>
          </ac:spMkLst>
        </pc:spChg>
        <pc:spChg chg="add mod ord">
          <ac:chgData name="Siddharth Harisankar" userId="e0bcdbd0-38b1-4f04-904b-878237e0514e" providerId="ADAL" clId="{C60A4992-8F66-4C9B-8329-6D165390F93B}" dt="2020-03-11T18:35:04.831" v="8217"/>
          <ac:spMkLst>
            <pc:docMk/>
            <pc:sldMk cId="3192832632" sldId="712"/>
            <ac:spMk id="10" creationId="{6541519B-9FD2-45B9-8AC2-740CADEB1175}"/>
          </ac:spMkLst>
        </pc:spChg>
        <pc:spChg chg="add mod ord">
          <ac:chgData name="Siddharth Harisankar" userId="e0bcdbd0-38b1-4f04-904b-878237e0514e" providerId="ADAL" clId="{C60A4992-8F66-4C9B-8329-6D165390F93B}" dt="2020-03-11T18:35:04.832" v="8219"/>
          <ac:spMkLst>
            <pc:docMk/>
            <pc:sldMk cId="3192832632" sldId="712"/>
            <ac:spMk id="11" creationId="{BE50441E-CFD5-45B8-9653-D91BD9F63A5C}"/>
          </ac:spMkLst>
        </pc:spChg>
        <pc:spChg chg="add mod">
          <ac:chgData name="Siddharth Harisankar" userId="e0bcdbd0-38b1-4f04-904b-878237e0514e" providerId="ADAL" clId="{C60A4992-8F66-4C9B-8329-6D165390F93B}" dt="2020-03-11T18:35:04.824" v="8205"/>
          <ac:spMkLst>
            <pc:docMk/>
            <pc:sldMk cId="3192832632" sldId="712"/>
            <ac:spMk id="12" creationId="{8158EFC1-01E1-442B-ACC2-99C344C0D6A5}"/>
          </ac:spMkLst>
        </pc:spChg>
        <pc:spChg chg="mod">
          <ac:chgData name="Siddharth Harisankar" userId="e0bcdbd0-38b1-4f04-904b-878237e0514e" providerId="ADAL" clId="{C60A4992-8F66-4C9B-8329-6D165390F93B}" dt="2020-03-11T18:35:04.839" v="8238"/>
          <ac:spMkLst>
            <pc:docMk/>
            <pc:sldMk cId="3192832632" sldId="712"/>
            <ac:spMk id="57" creationId="{82F87B6A-5743-438A-A5C3-D1A0CA52946D}"/>
          </ac:spMkLst>
        </pc:spChg>
        <pc:spChg chg="mod">
          <ac:chgData name="Siddharth Harisankar" userId="e0bcdbd0-38b1-4f04-904b-878237e0514e" providerId="ADAL" clId="{C60A4992-8F66-4C9B-8329-6D165390F93B}" dt="2020-03-11T18:35:04.840" v="8240"/>
          <ac:spMkLst>
            <pc:docMk/>
            <pc:sldMk cId="3192832632" sldId="712"/>
            <ac:spMk id="58" creationId="{EB0CDC31-655F-493E-89DD-86B3E7CB3C1F}"/>
          </ac:spMkLst>
        </pc:spChg>
        <pc:spChg chg="mod">
          <ac:chgData name="Siddharth Harisankar" userId="e0bcdbd0-38b1-4f04-904b-878237e0514e" providerId="ADAL" clId="{C60A4992-8F66-4C9B-8329-6D165390F93B}" dt="2020-03-11T18:35:04.844" v="8245"/>
          <ac:spMkLst>
            <pc:docMk/>
            <pc:sldMk cId="3192832632" sldId="712"/>
            <ac:spMk id="61" creationId="{4258C5E6-D9AA-4059-944F-DDD9964E6099}"/>
          </ac:spMkLst>
        </pc:spChg>
        <pc:spChg chg="mod">
          <ac:chgData name="Siddharth Harisankar" userId="e0bcdbd0-38b1-4f04-904b-878237e0514e" providerId="ADAL" clId="{C60A4992-8F66-4C9B-8329-6D165390F93B}" dt="2020-03-11T18:35:04.843" v="8244"/>
          <ac:spMkLst>
            <pc:docMk/>
            <pc:sldMk cId="3192832632" sldId="712"/>
            <ac:spMk id="62" creationId="{E32FA1B3-97C4-42A2-8BFE-0090219EFD4B}"/>
          </ac:spMkLst>
        </pc:spChg>
        <pc:spChg chg="mod">
          <ac:chgData name="Siddharth Harisankar" userId="e0bcdbd0-38b1-4f04-904b-878237e0514e" providerId="ADAL" clId="{C60A4992-8F66-4C9B-8329-6D165390F93B}" dt="2020-03-11T18:35:04.840" v="8243"/>
          <ac:spMkLst>
            <pc:docMk/>
            <pc:sldMk cId="3192832632" sldId="712"/>
            <ac:spMk id="63" creationId="{C7BA7B2B-1BE6-4633-BE08-1D854BDEFCE4}"/>
          </ac:spMkLst>
        </pc:spChg>
        <pc:spChg chg="mod">
          <ac:chgData name="Siddharth Harisankar" userId="e0bcdbd0-38b1-4f04-904b-878237e0514e" providerId="ADAL" clId="{C60A4992-8F66-4C9B-8329-6D165390F93B}" dt="2020-03-11T18:35:04.840" v="8239"/>
          <ac:spMkLst>
            <pc:docMk/>
            <pc:sldMk cId="3192832632" sldId="712"/>
            <ac:spMk id="66" creationId="{FAD9F17C-1263-428A-A7AA-7C3B174172B6}"/>
          </ac:spMkLst>
        </pc:spChg>
        <pc:spChg chg="mod">
          <ac:chgData name="Siddharth Harisankar" userId="e0bcdbd0-38b1-4f04-904b-878237e0514e" providerId="ADAL" clId="{C60A4992-8F66-4C9B-8329-6D165390F93B}" dt="2020-03-11T18:35:04.840" v="8241"/>
          <ac:spMkLst>
            <pc:docMk/>
            <pc:sldMk cId="3192832632" sldId="712"/>
            <ac:spMk id="67" creationId="{2E53AAC5-50DA-415C-899B-19FAD66DEFDE}"/>
          </ac:spMkLst>
        </pc:spChg>
        <pc:spChg chg="mod ord">
          <ac:chgData name="Siddharth Harisankar" userId="e0bcdbd0-38b1-4f04-904b-878237e0514e" providerId="ADAL" clId="{C60A4992-8F66-4C9B-8329-6D165390F93B}" dt="2020-03-11T18:35:04.846" v="8248"/>
          <ac:spMkLst>
            <pc:docMk/>
            <pc:sldMk cId="3192832632" sldId="712"/>
            <ac:spMk id="70" creationId="{B9BF5547-1C7D-4105-B447-2B2CEB1118E6}"/>
          </ac:spMkLst>
        </pc:spChg>
        <pc:spChg chg="mod ord">
          <ac:chgData name="Siddharth Harisankar" userId="e0bcdbd0-38b1-4f04-904b-878237e0514e" providerId="ADAL" clId="{C60A4992-8F66-4C9B-8329-6D165390F93B}" dt="2020-03-11T18:35:04.846" v="8250"/>
          <ac:spMkLst>
            <pc:docMk/>
            <pc:sldMk cId="3192832632" sldId="712"/>
            <ac:spMk id="71" creationId="{1921944D-B765-4515-B7C7-5F1C64BEE53E}"/>
          </ac:spMkLst>
        </pc:spChg>
        <pc:spChg chg="mod ord">
          <ac:chgData name="Siddharth Harisankar" userId="e0bcdbd0-38b1-4f04-904b-878237e0514e" providerId="ADAL" clId="{C60A4992-8F66-4C9B-8329-6D165390F93B}" dt="2020-03-11T18:35:04.847" v="8252"/>
          <ac:spMkLst>
            <pc:docMk/>
            <pc:sldMk cId="3192832632" sldId="712"/>
            <ac:spMk id="72" creationId="{1A807318-7D0E-4218-BB9E-0775FD0290B9}"/>
          </ac:spMkLst>
        </pc:spChg>
        <pc:spChg chg="mod">
          <ac:chgData name="Siddharth Harisankar" userId="e0bcdbd0-38b1-4f04-904b-878237e0514e" providerId="ADAL" clId="{C60A4992-8F66-4C9B-8329-6D165390F93B}" dt="2020-03-11T18:35:04.848" v="8254"/>
          <ac:spMkLst>
            <pc:docMk/>
            <pc:sldMk cId="3192832632" sldId="712"/>
            <ac:spMk id="74" creationId="{76013FAE-76E0-40D4-AEF9-FBA27E169732}"/>
          </ac:spMkLst>
        </pc:spChg>
        <pc:spChg chg="mod">
          <ac:chgData name="Siddharth Harisankar" userId="e0bcdbd0-38b1-4f04-904b-878237e0514e" providerId="ADAL" clId="{C60A4992-8F66-4C9B-8329-6D165390F93B}" dt="2020-03-11T18:35:04.848" v="8253"/>
          <ac:spMkLst>
            <pc:docMk/>
            <pc:sldMk cId="3192832632" sldId="712"/>
            <ac:spMk id="75" creationId="{20A75E27-8A57-45EC-AB89-D85A3AC2D639}"/>
          </ac:spMkLst>
        </pc:spChg>
        <pc:spChg chg="mod">
          <ac:chgData name="Siddharth Harisankar" userId="e0bcdbd0-38b1-4f04-904b-878237e0514e" providerId="ADAL" clId="{C60A4992-8F66-4C9B-8329-6D165390F93B}" dt="2020-03-11T18:35:04.849" v="8255"/>
          <ac:spMkLst>
            <pc:docMk/>
            <pc:sldMk cId="3192832632" sldId="712"/>
            <ac:spMk id="76" creationId="{7D94126C-CA88-4BF7-8C83-16EF2182A803}"/>
          </ac:spMkLst>
        </pc:spChg>
        <pc:spChg chg="mod">
          <ac:chgData name="Siddharth Harisankar" userId="e0bcdbd0-38b1-4f04-904b-878237e0514e" providerId="ADAL" clId="{C60A4992-8F66-4C9B-8329-6D165390F93B}" dt="2020-03-11T18:35:04.849" v="8256"/>
          <ac:spMkLst>
            <pc:docMk/>
            <pc:sldMk cId="3192832632" sldId="712"/>
            <ac:spMk id="77" creationId="{8672DFB2-2D77-47FC-96FF-F5A9F06792F5}"/>
          </ac:spMkLst>
        </pc:spChg>
        <pc:spChg chg="mod ord">
          <ac:chgData name="Siddharth Harisankar" userId="e0bcdbd0-38b1-4f04-904b-878237e0514e" providerId="ADAL" clId="{C60A4992-8F66-4C9B-8329-6D165390F93B}" dt="2020-03-11T18:35:04.851" v="8258"/>
          <ac:spMkLst>
            <pc:docMk/>
            <pc:sldMk cId="3192832632" sldId="712"/>
            <ac:spMk id="79" creationId="{01563A8F-7288-41B8-A24C-9F5DAED2E0BB}"/>
          </ac:spMkLst>
        </pc:spChg>
        <pc:spChg chg="mod ord">
          <ac:chgData name="Siddharth Harisankar" userId="e0bcdbd0-38b1-4f04-904b-878237e0514e" providerId="ADAL" clId="{C60A4992-8F66-4C9B-8329-6D165390F93B}" dt="2020-03-11T18:35:04.855" v="8268"/>
          <ac:spMkLst>
            <pc:docMk/>
            <pc:sldMk cId="3192832632" sldId="712"/>
            <ac:spMk id="84" creationId="{87AFB0EE-2B74-4632-B24D-24D65FF35A17}"/>
          </ac:spMkLst>
        </pc:spChg>
        <pc:spChg chg="mod">
          <ac:chgData name="Siddharth Harisankar" userId="e0bcdbd0-38b1-4f04-904b-878237e0514e" providerId="ADAL" clId="{C60A4992-8F66-4C9B-8329-6D165390F93B}" dt="2020-03-11T18:35:04.845" v="8246"/>
          <ac:spMkLst>
            <pc:docMk/>
            <pc:sldMk cId="3192832632" sldId="712"/>
            <ac:spMk id="96" creationId="{13CED523-D497-4AE4-9D99-FFB688D5A777}"/>
          </ac:spMkLst>
        </pc:spChg>
        <pc:spChg chg="mod">
          <ac:chgData name="Siddharth Harisankar" userId="e0bcdbd0-38b1-4f04-904b-878237e0514e" providerId="ADAL" clId="{C60A4992-8F66-4C9B-8329-6D165390F93B}" dt="2020-03-11T18:35:04.840" v="8242"/>
          <ac:spMkLst>
            <pc:docMk/>
            <pc:sldMk cId="3192832632" sldId="712"/>
            <ac:spMk id="97" creationId="{85937C68-D38C-4CF6-AABD-37159EF38468}"/>
          </ac:spMkLst>
        </pc:spChg>
        <pc:spChg chg="del">
          <ac:chgData name="Siddharth Harisankar" userId="e0bcdbd0-38b1-4f04-904b-878237e0514e" providerId="ADAL" clId="{C60A4992-8F66-4C9B-8329-6D165390F93B}" dt="2020-03-11T18:35:04.644" v="8041"/>
          <ac:spMkLst>
            <pc:docMk/>
            <pc:sldMk cId="3192832632" sldId="712"/>
            <ac:spMk id="118" creationId="{5DCB98E7-F0E2-4906-B5D5-CA79028FEBD4}"/>
          </ac:spMkLst>
        </pc:spChg>
        <pc:spChg chg="del">
          <ac:chgData name="Siddharth Harisankar" userId="e0bcdbd0-38b1-4f04-904b-878237e0514e" providerId="ADAL" clId="{C60A4992-8F66-4C9B-8329-6D165390F93B}" dt="2020-03-11T18:35:04.654" v="8052"/>
          <ac:spMkLst>
            <pc:docMk/>
            <pc:sldMk cId="3192832632" sldId="712"/>
            <ac:spMk id="119" creationId="{B472D855-A8EE-4F5A-85C6-287D34958B2B}"/>
          </ac:spMkLst>
        </pc:spChg>
        <pc:spChg chg="del">
          <ac:chgData name="Siddharth Harisankar" userId="e0bcdbd0-38b1-4f04-904b-878237e0514e" providerId="ADAL" clId="{C60A4992-8F66-4C9B-8329-6D165390F93B}" dt="2020-03-11T18:35:04.663" v="8062"/>
          <ac:spMkLst>
            <pc:docMk/>
            <pc:sldMk cId="3192832632" sldId="712"/>
            <ac:spMk id="120" creationId="{2C228F92-2AD3-43F5-BE52-3205D5AF643A}"/>
          </ac:spMkLst>
        </pc:spChg>
        <pc:spChg chg="del">
          <ac:chgData name="Siddharth Harisankar" userId="e0bcdbd0-38b1-4f04-904b-878237e0514e" providerId="ADAL" clId="{C60A4992-8F66-4C9B-8329-6D165390F93B}" dt="2020-03-11T18:35:04.671" v="8071"/>
          <ac:spMkLst>
            <pc:docMk/>
            <pc:sldMk cId="3192832632" sldId="712"/>
            <ac:spMk id="121" creationId="{AC65C3B9-A221-49D4-8964-2111112285D6}"/>
          </ac:spMkLst>
        </pc:spChg>
        <pc:spChg chg="del">
          <ac:chgData name="Siddharth Harisankar" userId="e0bcdbd0-38b1-4f04-904b-878237e0514e" providerId="ADAL" clId="{C60A4992-8F66-4C9B-8329-6D165390F93B}" dt="2020-03-11T18:35:04.680" v="8082"/>
          <ac:spMkLst>
            <pc:docMk/>
            <pc:sldMk cId="3192832632" sldId="712"/>
            <ac:spMk id="122" creationId="{E82ED47F-E55C-4DDF-9CF9-AF6CE1931B7F}"/>
          </ac:spMkLst>
        </pc:spChg>
        <pc:spChg chg="del">
          <ac:chgData name="Siddharth Harisankar" userId="e0bcdbd0-38b1-4f04-904b-878237e0514e" providerId="ADAL" clId="{C60A4992-8F66-4C9B-8329-6D165390F93B}" dt="2020-03-11T18:35:04.693" v="8092"/>
          <ac:spMkLst>
            <pc:docMk/>
            <pc:sldMk cId="3192832632" sldId="712"/>
            <ac:spMk id="123" creationId="{72DE6E59-B5BD-4A77-84C9-634DBA3678CE}"/>
          </ac:spMkLst>
        </pc:spChg>
        <pc:spChg chg="del">
          <ac:chgData name="Siddharth Harisankar" userId="e0bcdbd0-38b1-4f04-904b-878237e0514e" providerId="ADAL" clId="{C60A4992-8F66-4C9B-8329-6D165390F93B}" dt="2020-03-11T18:35:04.705" v="8101"/>
          <ac:spMkLst>
            <pc:docMk/>
            <pc:sldMk cId="3192832632" sldId="712"/>
            <ac:spMk id="124" creationId="{5DE707B3-59A3-4281-8F0B-CF29E6AE58B8}"/>
          </ac:spMkLst>
        </pc:spChg>
        <pc:spChg chg="del">
          <ac:chgData name="Siddharth Harisankar" userId="e0bcdbd0-38b1-4f04-904b-878237e0514e" providerId="ADAL" clId="{C60A4992-8F66-4C9B-8329-6D165390F93B}" dt="2020-03-11T18:35:04.721" v="8112"/>
          <ac:spMkLst>
            <pc:docMk/>
            <pc:sldMk cId="3192832632" sldId="712"/>
            <ac:spMk id="125" creationId="{B976C497-C1F5-4ABD-90BD-CAE428B165D5}"/>
          </ac:spMkLst>
        </pc:spChg>
        <pc:spChg chg="del">
          <ac:chgData name="Siddharth Harisankar" userId="e0bcdbd0-38b1-4f04-904b-878237e0514e" providerId="ADAL" clId="{C60A4992-8F66-4C9B-8329-6D165390F93B}" dt="2020-03-11T18:35:04.735" v="8122"/>
          <ac:spMkLst>
            <pc:docMk/>
            <pc:sldMk cId="3192832632" sldId="712"/>
            <ac:spMk id="126" creationId="{10F2D4A3-7906-4EB9-AD53-5704D6B90C54}"/>
          </ac:spMkLst>
        </pc:spChg>
        <pc:graphicFrameChg chg="mod ord">
          <ac:chgData name="Siddharth Harisankar" userId="e0bcdbd0-38b1-4f04-904b-878237e0514e" providerId="ADAL" clId="{C60A4992-8F66-4C9B-8329-6D165390F93B}" dt="2020-03-11T18:35:04.863" v="8272"/>
          <ac:graphicFrameMkLst>
            <pc:docMk/>
            <pc:sldMk cId="3192832632" sldId="712"/>
            <ac:graphicFrameMk id="4" creationId="{A9F9C243-F6F9-4217-BE94-EDB2B74004C1}"/>
          </ac:graphicFrameMkLst>
        </pc:graphicFrameChg>
        <pc:graphicFrameChg chg="add mod">
          <ac:chgData name="Siddharth Harisankar" userId="e0bcdbd0-38b1-4f04-904b-878237e0514e" providerId="ADAL" clId="{C60A4992-8F66-4C9B-8329-6D165390F93B}" dt="2020-03-11T18:35:04.824" v="8204"/>
          <ac:graphicFrameMkLst>
            <pc:docMk/>
            <pc:sldMk cId="3192832632" sldId="712"/>
            <ac:graphicFrameMk id="54" creationId="{E066C82E-D156-4C79-B1D1-FDFAE554038A}"/>
          </ac:graphicFrameMkLst>
        </pc:graphicFrameChg>
        <pc:graphicFrameChg chg="mod">
          <ac:chgData name="Siddharth Harisankar" userId="e0bcdbd0-38b1-4f04-904b-878237e0514e" providerId="ADAL" clId="{C60A4992-8F66-4C9B-8329-6D165390F93B}" dt="2020-03-11T18:35:04.823" v="8203"/>
          <ac:graphicFrameMkLst>
            <pc:docMk/>
            <pc:sldMk cId="3192832632" sldId="712"/>
            <ac:graphicFrameMk id="135" creationId="{C1132299-10E5-4FDD-964A-8B189120161D}"/>
          </ac:graphicFrameMkLst>
        </pc:graphicFrameChg>
        <pc:picChg chg="mod ord">
          <ac:chgData name="Siddharth Harisankar" userId="e0bcdbd0-38b1-4f04-904b-878237e0514e" providerId="ADAL" clId="{C60A4992-8F66-4C9B-8329-6D165390F93B}" dt="2020-03-11T18:35:04.852" v="8260"/>
          <ac:picMkLst>
            <pc:docMk/>
            <pc:sldMk cId="3192832632" sldId="712"/>
            <ac:picMk id="80" creationId="{BC267C1D-D843-4D9A-8D63-B215485810EC}"/>
          </ac:picMkLst>
        </pc:picChg>
        <pc:picChg chg="mod ord">
          <ac:chgData name="Siddharth Harisankar" userId="e0bcdbd0-38b1-4f04-904b-878237e0514e" providerId="ADAL" clId="{C60A4992-8F66-4C9B-8329-6D165390F93B}" dt="2020-03-11T18:35:04.852" v="8262"/>
          <ac:picMkLst>
            <pc:docMk/>
            <pc:sldMk cId="3192832632" sldId="712"/>
            <ac:picMk id="82" creationId="{F795E2FA-131A-469D-8F38-B21974A3A160}"/>
          </ac:picMkLst>
        </pc:picChg>
        <pc:cxnChg chg="mod ord">
          <ac:chgData name="Siddharth Harisankar" userId="e0bcdbd0-38b1-4f04-904b-878237e0514e" providerId="ADAL" clId="{C60A4992-8F66-4C9B-8329-6D165390F93B}" dt="2020-03-11T18:35:04.853" v="8264"/>
          <ac:cxnSpMkLst>
            <pc:docMk/>
            <pc:sldMk cId="3192832632" sldId="712"/>
            <ac:cxnSpMk id="38" creationId="{F84849A4-85B1-4872-B236-69D0BD9A9EFF}"/>
          </ac:cxnSpMkLst>
        </pc:cxnChg>
        <pc:cxnChg chg="mod ord">
          <ac:chgData name="Siddharth Harisankar" userId="e0bcdbd0-38b1-4f04-904b-878237e0514e" providerId="ADAL" clId="{C60A4992-8F66-4C9B-8329-6D165390F93B}" dt="2020-03-11T18:35:04.834" v="8223"/>
          <ac:cxnSpMkLst>
            <pc:docMk/>
            <pc:sldMk cId="3192832632" sldId="712"/>
            <ac:cxnSpMk id="45" creationId="{0774C5DD-D75D-44A2-BE2D-BA6571A98F1B}"/>
          </ac:cxnSpMkLst>
        </pc:cxnChg>
        <pc:cxnChg chg="mod ord">
          <ac:chgData name="Siddharth Harisankar" userId="e0bcdbd0-38b1-4f04-904b-878237e0514e" providerId="ADAL" clId="{C60A4992-8F66-4C9B-8329-6D165390F93B}" dt="2020-03-11T18:35:04.834" v="8225"/>
          <ac:cxnSpMkLst>
            <pc:docMk/>
            <pc:sldMk cId="3192832632" sldId="712"/>
            <ac:cxnSpMk id="46" creationId="{6ABB37E2-90A7-4810-A217-FB8147862489}"/>
          </ac:cxnSpMkLst>
        </pc:cxnChg>
        <pc:cxnChg chg="mod ord">
          <ac:chgData name="Siddharth Harisankar" userId="e0bcdbd0-38b1-4f04-904b-878237e0514e" providerId="ADAL" clId="{C60A4992-8F66-4C9B-8329-6D165390F93B}" dt="2020-03-11T18:35:04.833" v="8221"/>
          <ac:cxnSpMkLst>
            <pc:docMk/>
            <pc:sldMk cId="3192832632" sldId="712"/>
            <ac:cxnSpMk id="47" creationId="{C79D5945-38C1-4D43-A76A-52E73B606542}"/>
          </ac:cxnSpMkLst>
        </pc:cxnChg>
        <pc:cxnChg chg="mod ord">
          <ac:chgData name="Siddharth Harisankar" userId="e0bcdbd0-38b1-4f04-904b-878237e0514e" providerId="ADAL" clId="{C60A4992-8F66-4C9B-8329-6D165390F93B}" dt="2020-03-11T18:35:04.836" v="8231"/>
          <ac:cxnSpMkLst>
            <pc:docMk/>
            <pc:sldMk cId="3192832632" sldId="712"/>
            <ac:cxnSpMk id="48" creationId="{E0E39722-425A-4A64-9AAA-B64B85DDB7F9}"/>
          </ac:cxnSpMkLst>
        </pc:cxnChg>
        <pc:cxnChg chg="mod ord">
          <ac:chgData name="Siddharth Harisankar" userId="e0bcdbd0-38b1-4f04-904b-878237e0514e" providerId="ADAL" clId="{C60A4992-8F66-4C9B-8329-6D165390F93B}" dt="2020-03-11T18:35:04.836" v="8229"/>
          <ac:cxnSpMkLst>
            <pc:docMk/>
            <pc:sldMk cId="3192832632" sldId="712"/>
            <ac:cxnSpMk id="49" creationId="{53600CEC-7CFC-4C4A-A7AE-29B28DF9F5F8}"/>
          </ac:cxnSpMkLst>
        </pc:cxnChg>
        <pc:cxnChg chg="mod ord">
          <ac:chgData name="Siddharth Harisankar" userId="e0bcdbd0-38b1-4f04-904b-878237e0514e" providerId="ADAL" clId="{C60A4992-8F66-4C9B-8329-6D165390F93B}" dt="2020-03-11T18:35:04.835" v="8227"/>
          <ac:cxnSpMkLst>
            <pc:docMk/>
            <pc:sldMk cId="3192832632" sldId="712"/>
            <ac:cxnSpMk id="50" creationId="{D4043434-A5DA-46DC-B5CB-2089079A191D}"/>
          </ac:cxnSpMkLst>
        </pc:cxnChg>
        <pc:cxnChg chg="mod ord">
          <ac:chgData name="Siddharth Harisankar" userId="e0bcdbd0-38b1-4f04-904b-878237e0514e" providerId="ADAL" clId="{C60A4992-8F66-4C9B-8329-6D165390F93B}" dt="2020-03-11T18:35:04.839" v="8237"/>
          <ac:cxnSpMkLst>
            <pc:docMk/>
            <pc:sldMk cId="3192832632" sldId="712"/>
            <ac:cxnSpMk id="51" creationId="{3C8E295C-9F8D-4F85-A7FB-198FB2B526CC}"/>
          </ac:cxnSpMkLst>
        </pc:cxnChg>
        <pc:cxnChg chg="mod ord">
          <ac:chgData name="Siddharth Harisankar" userId="e0bcdbd0-38b1-4f04-904b-878237e0514e" providerId="ADAL" clId="{C60A4992-8F66-4C9B-8329-6D165390F93B}" dt="2020-03-11T18:35:04.838" v="8235"/>
          <ac:cxnSpMkLst>
            <pc:docMk/>
            <pc:sldMk cId="3192832632" sldId="712"/>
            <ac:cxnSpMk id="52" creationId="{9F5D826C-D181-4255-B499-8975046E2A9A}"/>
          </ac:cxnSpMkLst>
        </pc:cxnChg>
        <pc:cxnChg chg="mod ord">
          <ac:chgData name="Siddharth Harisankar" userId="e0bcdbd0-38b1-4f04-904b-878237e0514e" providerId="ADAL" clId="{C60A4992-8F66-4C9B-8329-6D165390F93B}" dt="2020-03-11T18:35:04.837" v="8233"/>
          <ac:cxnSpMkLst>
            <pc:docMk/>
            <pc:sldMk cId="3192832632" sldId="712"/>
            <ac:cxnSpMk id="53" creationId="{111F986F-BEFC-4531-B65B-7506055FE1AA}"/>
          </ac:cxnSpMkLst>
        </pc:cxnChg>
        <pc:cxnChg chg="mod ord">
          <ac:chgData name="Siddharth Harisankar" userId="e0bcdbd0-38b1-4f04-904b-878237e0514e" providerId="ADAL" clId="{C60A4992-8F66-4C9B-8329-6D165390F93B}" dt="2020-03-11T18:35:04.854" v="8266"/>
          <ac:cxnSpMkLst>
            <pc:docMk/>
            <pc:sldMk cId="3192832632" sldId="712"/>
            <ac:cxnSpMk id="90" creationId="{E836F45D-FF32-4CC3-8D0A-B14B2126CF53}"/>
          </ac:cxnSpMkLst>
        </pc:cxnChg>
      </pc:sldChg>
      <pc:sldChg chg="addSp delSp modSp add">
        <pc:chgData name="Siddharth Harisankar" userId="e0bcdbd0-38b1-4f04-904b-878237e0514e" providerId="ADAL" clId="{C60A4992-8F66-4C9B-8329-6D165390F93B}" dt="2020-03-11T19:13:46.460" v="8408" actId="1076"/>
        <pc:sldMkLst>
          <pc:docMk/>
          <pc:sldMk cId="1248004737" sldId="713"/>
        </pc:sldMkLst>
        <pc:spChg chg="mod">
          <ac:chgData name="Siddharth Harisankar" userId="e0bcdbd0-38b1-4f04-904b-878237e0514e" providerId="ADAL" clId="{C60A4992-8F66-4C9B-8329-6D165390F93B}" dt="2020-03-11T19:12:26.059" v="8373" actId="20577"/>
          <ac:spMkLst>
            <pc:docMk/>
            <pc:sldMk cId="1248004737" sldId="713"/>
            <ac:spMk id="9" creationId="{9091F50D-EB45-46FF-9F95-4F903BBE2788}"/>
          </ac:spMkLst>
        </pc:spChg>
        <pc:picChg chg="del">
          <ac:chgData name="Siddharth Harisankar" userId="e0bcdbd0-38b1-4f04-904b-878237e0514e" providerId="ADAL" clId="{C60A4992-8F66-4C9B-8329-6D165390F93B}" dt="2020-03-11T19:12:20.339" v="8358" actId="478"/>
          <ac:picMkLst>
            <pc:docMk/>
            <pc:sldMk cId="1248004737" sldId="713"/>
            <ac:picMk id="3" creationId="{9FE21363-4532-411A-A140-21C610EB26FD}"/>
          </ac:picMkLst>
        </pc:picChg>
        <pc:picChg chg="add mod">
          <ac:chgData name="Siddharth Harisankar" userId="e0bcdbd0-38b1-4f04-904b-878237e0514e" providerId="ADAL" clId="{C60A4992-8F66-4C9B-8329-6D165390F93B}" dt="2020-03-11T19:13:46.460" v="8408" actId="1076"/>
          <ac:picMkLst>
            <pc:docMk/>
            <pc:sldMk cId="1248004737" sldId="713"/>
            <ac:picMk id="5" creationId="{8A658A91-F327-480A-A0E9-651EED0127A9}"/>
          </ac:picMkLst>
        </pc:picChg>
      </pc:sldChg>
      <pc:sldChg chg="addSp delSp modSp add">
        <pc:chgData name="Siddharth Harisankar" userId="e0bcdbd0-38b1-4f04-904b-878237e0514e" providerId="ADAL" clId="{C60A4992-8F66-4C9B-8329-6D165390F93B}" dt="2020-03-11T19:16:10.488" v="8444" actId="20577"/>
        <pc:sldMkLst>
          <pc:docMk/>
          <pc:sldMk cId="3274822280" sldId="714"/>
        </pc:sldMkLst>
        <pc:spChg chg="mod">
          <ac:chgData name="Siddharth Harisankar" userId="e0bcdbd0-38b1-4f04-904b-878237e0514e" providerId="ADAL" clId="{C60A4992-8F66-4C9B-8329-6D165390F93B}" dt="2020-03-11T19:16:10.488" v="8444" actId="20577"/>
          <ac:spMkLst>
            <pc:docMk/>
            <pc:sldMk cId="3274822280" sldId="714"/>
            <ac:spMk id="9" creationId="{9091F50D-EB45-46FF-9F95-4F903BBE2788}"/>
          </ac:spMkLst>
        </pc:spChg>
        <pc:graphicFrameChg chg="add del">
          <ac:chgData name="Siddharth Harisankar" userId="e0bcdbd0-38b1-4f04-904b-878237e0514e" providerId="ADAL" clId="{C60A4992-8F66-4C9B-8329-6D165390F93B}" dt="2020-03-11T19:15:00.578" v="8416"/>
          <ac:graphicFrameMkLst>
            <pc:docMk/>
            <pc:sldMk cId="3274822280" sldId="714"/>
            <ac:graphicFrameMk id="3" creationId="{2ACE3E0B-8068-42C3-97C2-0DA1B1E8BDB1}"/>
          </ac:graphicFrameMkLst>
        </pc:graphicFrameChg>
        <pc:picChg chg="del">
          <ac:chgData name="Siddharth Harisankar" userId="e0bcdbd0-38b1-4f04-904b-878237e0514e" providerId="ADAL" clId="{C60A4992-8F66-4C9B-8329-6D165390F93B}" dt="2020-03-11T19:14:55.054" v="8410" actId="478"/>
          <ac:picMkLst>
            <pc:docMk/>
            <pc:sldMk cId="3274822280" sldId="714"/>
            <ac:picMk id="5" creationId="{8A658A91-F327-480A-A0E9-651EED0127A9}"/>
          </ac:picMkLst>
        </pc:picChg>
        <pc:picChg chg="add mod">
          <ac:chgData name="Siddharth Harisankar" userId="e0bcdbd0-38b1-4f04-904b-878237e0514e" providerId="ADAL" clId="{C60A4992-8F66-4C9B-8329-6D165390F93B}" dt="2020-03-11T19:15:54.575" v="8420" actId="1076"/>
          <ac:picMkLst>
            <pc:docMk/>
            <pc:sldMk cId="3274822280" sldId="714"/>
            <ac:picMk id="11" creationId="{BE54D1FA-E883-4DB2-9C7B-B24C9565EA15}"/>
          </ac:picMkLst>
        </pc:picChg>
      </pc:sldChg>
    </pc:docChg>
  </pc:docChgLst>
  <pc:docChgLst>
    <pc:chgData name="Siddharth Harisankar" userId="674f85ebb43ba4be" providerId="LiveId" clId="{159B100A-A44B-4D05-9B51-FB197E2F747A}"/>
    <pc:docChg chg="modSld">
      <pc:chgData name="Siddharth Harisankar" userId="674f85ebb43ba4be" providerId="LiveId" clId="{159B100A-A44B-4D05-9B51-FB197E2F747A}" dt="2020-03-11T20:10:03.826" v="4" actId="478"/>
      <pc:docMkLst>
        <pc:docMk/>
      </pc:docMkLst>
      <pc:sldChg chg="delSp">
        <pc:chgData name="Siddharth Harisankar" userId="674f85ebb43ba4be" providerId="LiveId" clId="{159B100A-A44B-4D05-9B51-FB197E2F747A}" dt="2020-03-11T20:09:49.226" v="2" actId="478"/>
        <pc:sldMkLst>
          <pc:docMk/>
          <pc:sldMk cId="1780165475" sldId="616"/>
        </pc:sldMkLst>
        <pc:picChg chg="del">
          <ac:chgData name="Siddharth Harisankar" userId="674f85ebb43ba4be" providerId="LiveId" clId="{159B100A-A44B-4D05-9B51-FB197E2F747A}" dt="2020-03-11T20:09:49.226" v="2" actId="478"/>
          <ac:picMkLst>
            <pc:docMk/>
            <pc:sldMk cId="1780165475" sldId="616"/>
            <ac:picMk id="30" creationId="{4C11E7B6-72AC-4461-987F-9A12498B12FE}"/>
          </ac:picMkLst>
        </pc:picChg>
      </pc:sldChg>
      <pc:sldChg chg="delSp">
        <pc:chgData name="Siddharth Harisankar" userId="674f85ebb43ba4be" providerId="LiveId" clId="{159B100A-A44B-4D05-9B51-FB197E2F747A}" dt="2020-03-11T20:09:40.665" v="0" actId="478"/>
        <pc:sldMkLst>
          <pc:docMk/>
          <pc:sldMk cId="4024293065" sldId="655"/>
        </pc:sldMkLst>
        <pc:picChg chg="del">
          <ac:chgData name="Siddharth Harisankar" userId="674f85ebb43ba4be" providerId="LiveId" clId="{159B100A-A44B-4D05-9B51-FB197E2F747A}" dt="2020-03-11T20:09:40.665" v="0" actId="478"/>
          <ac:picMkLst>
            <pc:docMk/>
            <pc:sldMk cId="4024293065" sldId="655"/>
            <ac:picMk id="33" creationId="{968EFF15-236E-47F3-900E-9B1078E6B613}"/>
          </ac:picMkLst>
        </pc:picChg>
      </pc:sldChg>
      <pc:sldChg chg="delSp">
        <pc:chgData name="Siddharth Harisankar" userId="674f85ebb43ba4be" providerId="LiveId" clId="{159B100A-A44B-4D05-9B51-FB197E2F747A}" dt="2020-03-11T20:09:53.065" v="3" actId="478"/>
        <pc:sldMkLst>
          <pc:docMk/>
          <pc:sldMk cId="626541197" sldId="708"/>
        </pc:sldMkLst>
        <pc:picChg chg="del">
          <ac:chgData name="Siddharth Harisankar" userId="674f85ebb43ba4be" providerId="LiveId" clId="{159B100A-A44B-4D05-9B51-FB197E2F747A}" dt="2020-03-11T20:09:53.065" v="3" actId="478"/>
          <ac:picMkLst>
            <pc:docMk/>
            <pc:sldMk cId="626541197" sldId="708"/>
            <ac:picMk id="33" creationId="{968EFF15-236E-47F3-900E-9B1078E6B613}"/>
          </ac:picMkLst>
        </pc:picChg>
      </pc:sldChg>
      <pc:sldChg chg="delSp">
        <pc:chgData name="Siddharth Harisankar" userId="674f85ebb43ba4be" providerId="LiveId" clId="{159B100A-A44B-4D05-9B51-FB197E2F747A}" dt="2020-03-11T20:09:44.778" v="1" actId="478"/>
        <pc:sldMkLst>
          <pc:docMk/>
          <pc:sldMk cId="3948948540" sldId="709"/>
        </pc:sldMkLst>
        <pc:picChg chg="del">
          <ac:chgData name="Siddharth Harisankar" userId="674f85ebb43ba4be" providerId="LiveId" clId="{159B100A-A44B-4D05-9B51-FB197E2F747A}" dt="2020-03-11T20:09:44.778" v="1" actId="478"/>
          <ac:picMkLst>
            <pc:docMk/>
            <pc:sldMk cId="3948948540" sldId="709"/>
            <ac:picMk id="33" creationId="{968EFF15-236E-47F3-900E-9B1078E6B613}"/>
          </ac:picMkLst>
        </pc:picChg>
      </pc:sldChg>
      <pc:sldChg chg="delSp">
        <pc:chgData name="Siddharth Harisankar" userId="674f85ebb43ba4be" providerId="LiveId" clId="{159B100A-A44B-4D05-9B51-FB197E2F747A}" dt="2020-03-11T20:10:03.826" v="4" actId="478"/>
        <pc:sldMkLst>
          <pc:docMk/>
          <pc:sldMk cId="3745573308" sldId="710"/>
        </pc:sldMkLst>
        <pc:picChg chg="del">
          <ac:chgData name="Siddharth Harisankar" userId="674f85ebb43ba4be" providerId="LiveId" clId="{159B100A-A44B-4D05-9B51-FB197E2F747A}" dt="2020-03-11T20:10:03.826" v="4" actId="478"/>
          <ac:picMkLst>
            <pc:docMk/>
            <pc:sldMk cId="3745573308" sldId="710"/>
            <ac:picMk id="33" creationId="{968EFF15-236E-47F3-900E-9B1078E6B613}"/>
          </ac:picMkLst>
        </pc:picChg>
      </pc:sldChg>
    </pc:docChg>
  </pc:docChgLst>
  <pc:docChgLst>
    <pc:chgData name="Ravindran, Vinitha" userId="82ce3cca-7558-454b-843d-12c117c3060e" providerId="ADAL" clId="{B2A3330E-95B9-4AD1-B54B-8ED847DFDE0F}"/>
    <pc:docChg chg="undo custSel addSld delSld modSld sldOrd">
      <pc:chgData name="Ravindran, Vinitha" userId="82ce3cca-7558-454b-843d-12c117c3060e" providerId="ADAL" clId="{B2A3330E-95B9-4AD1-B54B-8ED847DFDE0F}" dt="2020-03-11T19:17:06.786" v="2261" actId="1076"/>
      <pc:docMkLst>
        <pc:docMk/>
      </pc:docMkLst>
      <pc:sldChg chg="addSp delSp modSp mod ord">
        <pc:chgData name="Ravindran, Vinitha" userId="82ce3cca-7558-454b-843d-12c117c3060e" providerId="ADAL" clId="{B2A3330E-95B9-4AD1-B54B-8ED847DFDE0F}" dt="2020-03-11T17:02:47.403" v="373" actId="1076"/>
        <pc:sldMkLst>
          <pc:docMk/>
          <pc:sldMk cId="383173770" sldId="592"/>
        </pc:sldMkLst>
        <pc:spChg chg="del mod">
          <ac:chgData name="Ravindran, Vinitha" userId="82ce3cca-7558-454b-843d-12c117c3060e" providerId="ADAL" clId="{B2A3330E-95B9-4AD1-B54B-8ED847DFDE0F}" dt="2020-03-11T16:49:23.142" v="236" actId="478"/>
          <ac:spMkLst>
            <pc:docMk/>
            <pc:sldMk cId="383173770" sldId="592"/>
            <ac:spMk id="2" creationId="{FC984EC4-832E-2243-8739-3413968E30CC}"/>
          </ac:spMkLst>
        </pc:spChg>
        <pc:spChg chg="del">
          <ac:chgData name="Ravindran, Vinitha" userId="82ce3cca-7558-454b-843d-12c117c3060e" providerId="ADAL" clId="{B2A3330E-95B9-4AD1-B54B-8ED847DFDE0F}" dt="2020-03-11T16:49:18.970" v="233" actId="478"/>
          <ac:spMkLst>
            <pc:docMk/>
            <pc:sldMk cId="383173770" sldId="592"/>
            <ac:spMk id="9" creationId="{A33071AA-A630-44E5-AAD8-B340C116F5EA}"/>
          </ac:spMkLst>
        </pc:spChg>
        <pc:spChg chg="add mod">
          <ac:chgData name="Ravindran, Vinitha" userId="82ce3cca-7558-454b-843d-12c117c3060e" providerId="ADAL" clId="{B2A3330E-95B9-4AD1-B54B-8ED847DFDE0F}" dt="2020-03-11T17:02:47.403" v="373" actId="1076"/>
          <ac:spMkLst>
            <pc:docMk/>
            <pc:sldMk cId="383173770" sldId="592"/>
            <ac:spMk id="23" creationId="{6B45EF6D-12B8-4AA4-8186-6387A540AE6B}"/>
          </ac:spMkLst>
        </pc:spChg>
        <pc:spChg chg="add">
          <ac:chgData name="Ravindran, Vinitha" userId="82ce3cca-7558-454b-843d-12c117c3060e" providerId="ADAL" clId="{B2A3330E-95B9-4AD1-B54B-8ED847DFDE0F}" dt="2020-03-11T16:49:29.690" v="237"/>
          <ac:spMkLst>
            <pc:docMk/>
            <pc:sldMk cId="383173770" sldId="592"/>
            <ac:spMk id="24" creationId="{0419B8BF-5B78-49F3-ACCE-27E7AD5ED205}"/>
          </ac:spMkLst>
        </pc:spChg>
        <pc:grpChg chg="add">
          <ac:chgData name="Ravindran, Vinitha" userId="82ce3cca-7558-454b-843d-12c117c3060e" providerId="ADAL" clId="{B2A3330E-95B9-4AD1-B54B-8ED847DFDE0F}" dt="2020-03-11T16:49:29.690" v="237"/>
          <ac:grpSpMkLst>
            <pc:docMk/>
            <pc:sldMk cId="383173770" sldId="592"/>
            <ac:grpSpMk id="8" creationId="{29E33E33-BEB4-4489-8574-53BA978C663A}"/>
          </ac:grpSpMkLst>
        </pc:grpChg>
        <pc:picChg chg="add del mod">
          <ac:chgData name="Ravindran, Vinitha" userId="82ce3cca-7558-454b-843d-12c117c3060e" providerId="ADAL" clId="{B2A3330E-95B9-4AD1-B54B-8ED847DFDE0F}" dt="2020-03-11T17:02:44.304" v="372" actId="478"/>
          <ac:picMkLst>
            <pc:docMk/>
            <pc:sldMk cId="383173770" sldId="592"/>
            <ac:picMk id="4" creationId="{79C8EB0E-3976-4F92-A228-AFA18DA9B13A}"/>
          </ac:picMkLst>
        </pc:picChg>
        <pc:picChg chg="add">
          <ac:chgData name="Ravindran, Vinitha" userId="82ce3cca-7558-454b-843d-12c117c3060e" providerId="ADAL" clId="{B2A3330E-95B9-4AD1-B54B-8ED847DFDE0F}" dt="2020-03-11T16:49:39.542" v="238"/>
          <ac:picMkLst>
            <pc:docMk/>
            <pc:sldMk cId="383173770" sldId="592"/>
            <ac:picMk id="25" creationId="{E73CE490-0B2B-4642-A7E5-C0A192A6EB3B}"/>
          </ac:picMkLst>
        </pc:picChg>
        <pc:picChg chg="add">
          <ac:chgData name="Ravindran, Vinitha" userId="82ce3cca-7558-454b-843d-12c117c3060e" providerId="ADAL" clId="{B2A3330E-95B9-4AD1-B54B-8ED847DFDE0F}" dt="2020-03-11T16:49:39.542" v="238"/>
          <ac:picMkLst>
            <pc:docMk/>
            <pc:sldMk cId="383173770" sldId="592"/>
            <ac:picMk id="26" creationId="{B11D7BFD-0CF4-41F3-9085-ECE90DCC4C91}"/>
          </ac:picMkLst>
        </pc:picChg>
        <pc:picChg chg="add">
          <ac:chgData name="Ravindran, Vinitha" userId="82ce3cca-7558-454b-843d-12c117c3060e" providerId="ADAL" clId="{B2A3330E-95B9-4AD1-B54B-8ED847DFDE0F}" dt="2020-03-11T16:49:39.542" v="238"/>
          <ac:picMkLst>
            <pc:docMk/>
            <pc:sldMk cId="383173770" sldId="592"/>
            <ac:picMk id="27" creationId="{D38BA7B1-0205-4430-892F-5BB6C4663E2C}"/>
          </ac:picMkLst>
        </pc:picChg>
        <pc:picChg chg="del">
          <ac:chgData name="Ravindran, Vinitha" userId="82ce3cca-7558-454b-843d-12c117c3060e" providerId="ADAL" clId="{B2A3330E-95B9-4AD1-B54B-8ED847DFDE0F}" dt="2020-03-11T16:49:20.454" v="234" actId="478"/>
          <ac:picMkLst>
            <pc:docMk/>
            <pc:sldMk cId="383173770" sldId="592"/>
            <ac:picMk id="9218" creationId="{7811CAC4-2677-4CB2-9D51-F83530169117}"/>
          </ac:picMkLst>
        </pc:picChg>
      </pc:sldChg>
      <pc:sldChg chg="delSp modSp mod ord modAnim">
        <pc:chgData name="Ravindran, Vinitha" userId="82ce3cca-7558-454b-843d-12c117c3060e" providerId="ADAL" clId="{B2A3330E-95B9-4AD1-B54B-8ED847DFDE0F}" dt="2020-03-11T19:17:06.786" v="2261" actId="1076"/>
        <pc:sldMkLst>
          <pc:docMk/>
          <pc:sldMk cId="2899787496" sldId="600"/>
        </pc:sldMkLst>
        <pc:spChg chg="mod">
          <ac:chgData name="Ravindran, Vinitha" userId="82ce3cca-7558-454b-843d-12c117c3060e" providerId="ADAL" clId="{B2A3330E-95B9-4AD1-B54B-8ED847DFDE0F}" dt="2020-03-11T19:16:45.779" v="2258" actId="20577"/>
          <ac:spMkLst>
            <pc:docMk/>
            <pc:sldMk cId="2899787496" sldId="600"/>
            <ac:spMk id="4" creationId="{9CC1E34C-0532-4C10-AF18-4A598D24BE4C}"/>
          </ac:spMkLst>
        </pc:spChg>
        <pc:spChg chg="mod">
          <ac:chgData name="Ravindran, Vinitha" userId="82ce3cca-7558-454b-843d-12c117c3060e" providerId="ADAL" clId="{B2A3330E-95B9-4AD1-B54B-8ED847DFDE0F}" dt="2020-03-11T19:16:54.646" v="2259" actId="1076"/>
          <ac:spMkLst>
            <pc:docMk/>
            <pc:sldMk cId="2899787496" sldId="600"/>
            <ac:spMk id="5" creationId="{F7AF36D1-7478-40B8-87AD-78021C0FD8F0}"/>
          </ac:spMkLst>
        </pc:spChg>
        <pc:spChg chg="mod">
          <ac:chgData name="Ravindran, Vinitha" userId="82ce3cca-7558-454b-843d-12c117c3060e" providerId="ADAL" clId="{B2A3330E-95B9-4AD1-B54B-8ED847DFDE0F}" dt="2020-03-11T19:17:06.786" v="2261" actId="1076"/>
          <ac:spMkLst>
            <pc:docMk/>
            <pc:sldMk cId="2899787496" sldId="600"/>
            <ac:spMk id="6" creationId="{33E34035-C00A-4988-93B1-1F2B9DB94F89}"/>
          </ac:spMkLst>
        </pc:spChg>
        <pc:spChg chg="del">
          <ac:chgData name="Ravindran, Vinitha" userId="82ce3cca-7558-454b-843d-12c117c3060e" providerId="ADAL" clId="{B2A3330E-95B9-4AD1-B54B-8ED847DFDE0F}" dt="2020-03-11T19:17:00.548" v="2260" actId="478"/>
          <ac:spMkLst>
            <pc:docMk/>
            <pc:sldMk cId="2899787496" sldId="600"/>
            <ac:spMk id="8" creationId="{C909D5FE-E33B-423F-BF92-5952DAFFBF58}"/>
          </ac:spMkLst>
        </pc:spChg>
        <pc:picChg chg="del">
          <ac:chgData name="Ravindran, Vinitha" userId="82ce3cca-7558-454b-843d-12c117c3060e" providerId="ADAL" clId="{B2A3330E-95B9-4AD1-B54B-8ED847DFDE0F}" dt="2020-03-11T19:17:00.548" v="2260" actId="478"/>
          <ac:picMkLst>
            <pc:docMk/>
            <pc:sldMk cId="2899787496" sldId="600"/>
            <ac:picMk id="9" creationId="{FFC6B4E5-BF6E-4236-844C-F4A3923055D3}"/>
          </ac:picMkLst>
        </pc:picChg>
        <pc:picChg chg="del">
          <ac:chgData name="Ravindran, Vinitha" userId="82ce3cca-7558-454b-843d-12c117c3060e" providerId="ADAL" clId="{B2A3330E-95B9-4AD1-B54B-8ED847DFDE0F}" dt="2020-03-11T19:17:00.548" v="2260" actId="478"/>
          <ac:picMkLst>
            <pc:docMk/>
            <pc:sldMk cId="2899787496" sldId="600"/>
            <ac:picMk id="10" creationId="{811720AA-9E0A-4FF7-ADB1-662352AAB3E5}"/>
          </ac:picMkLst>
        </pc:picChg>
      </pc:sldChg>
      <pc:sldChg chg="addSp delSp modSp mod ord">
        <pc:chgData name="Ravindran, Vinitha" userId="82ce3cca-7558-454b-843d-12c117c3060e" providerId="ADAL" clId="{B2A3330E-95B9-4AD1-B54B-8ED847DFDE0F}" dt="2020-03-11T17:05:05.180" v="415" actId="20577"/>
        <pc:sldMkLst>
          <pc:docMk/>
          <pc:sldMk cId="823282190" sldId="602"/>
        </pc:sldMkLst>
        <pc:spChg chg="add mod">
          <ac:chgData name="Ravindran, Vinitha" userId="82ce3cca-7558-454b-843d-12c117c3060e" providerId="ADAL" clId="{B2A3330E-95B9-4AD1-B54B-8ED847DFDE0F}" dt="2020-03-11T17:05:05.180" v="415" actId="20577"/>
          <ac:spMkLst>
            <pc:docMk/>
            <pc:sldMk cId="823282190" sldId="602"/>
            <ac:spMk id="4" creationId="{87C6D783-3ED0-48D4-BD7D-1B1C4A6BA5D1}"/>
          </ac:spMkLst>
        </pc:spChg>
        <pc:spChg chg="del">
          <ac:chgData name="Ravindran, Vinitha" userId="82ce3cca-7558-454b-843d-12c117c3060e" providerId="ADAL" clId="{B2A3330E-95B9-4AD1-B54B-8ED847DFDE0F}" dt="2020-03-11T17:04:40.124" v="379" actId="478"/>
          <ac:spMkLst>
            <pc:docMk/>
            <pc:sldMk cId="823282190" sldId="602"/>
            <ac:spMk id="15" creationId="{3541E1FA-786F-4226-9EA2-5A6DDB2F4CDF}"/>
          </ac:spMkLst>
        </pc:spChg>
        <pc:spChg chg="del">
          <ac:chgData name="Ravindran, Vinitha" userId="82ce3cca-7558-454b-843d-12c117c3060e" providerId="ADAL" clId="{B2A3330E-95B9-4AD1-B54B-8ED847DFDE0F}" dt="2020-03-11T17:04:40.124" v="379" actId="478"/>
          <ac:spMkLst>
            <pc:docMk/>
            <pc:sldMk cId="823282190" sldId="602"/>
            <ac:spMk id="19" creationId="{A3D6B498-DFBF-4463-8158-8D63319AA404}"/>
          </ac:spMkLst>
        </pc:spChg>
        <pc:spChg chg="del">
          <ac:chgData name="Ravindran, Vinitha" userId="82ce3cca-7558-454b-843d-12c117c3060e" providerId="ADAL" clId="{B2A3330E-95B9-4AD1-B54B-8ED847DFDE0F}" dt="2020-03-11T17:04:40.124" v="379" actId="478"/>
          <ac:spMkLst>
            <pc:docMk/>
            <pc:sldMk cId="823282190" sldId="602"/>
            <ac:spMk id="21" creationId="{C4B6C4D1-894E-481D-967C-0A108B8409CE}"/>
          </ac:spMkLst>
        </pc:spChg>
        <pc:spChg chg="del">
          <ac:chgData name="Ravindran, Vinitha" userId="82ce3cca-7558-454b-843d-12c117c3060e" providerId="ADAL" clId="{B2A3330E-95B9-4AD1-B54B-8ED847DFDE0F}" dt="2020-03-11T17:04:40.124" v="379" actId="478"/>
          <ac:spMkLst>
            <pc:docMk/>
            <pc:sldMk cId="823282190" sldId="602"/>
            <ac:spMk id="23" creationId="{E15B7DBC-21FF-4093-9D00-2E224FCC7475}"/>
          </ac:spMkLst>
        </pc:spChg>
        <pc:spChg chg="del">
          <ac:chgData name="Ravindran, Vinitha" userId="82ce3cca-7558-454b-843d-12c117c3060e" providerId="ADAL" clId="{B2A3330E-95B9-4AD1-B54B-8ED847DFDE0F}" dt="2020-03-11T17:04:40.124" v="379" actId="478"/>
          <ac:spMkLst>
            <pc:docMk/>
            <pc:sldMk cId="823282190" sldId="602"/>
            <ac:spMk id="26" creationId="{C092B11A-FBFE-47FA-AB53-5E2C03F53399}"/>
          </ac:spMkLst>
        </pc:spChg>
        <pc:spChg chg="del">
          <ac:chgData name="Ravindran, Vinitha" userId="82ce3cca-7558-454b-843d-12c117c3060e" providerId="ADAL" clId="{B2A3330E-95B9-4AD1-B54B-8ED847DFDE0F}" dt="2020-03-11T17:04:40.124" v="379" actId="478"/>
          <ac:spMkLst>
            <pc:docMk/>
            <pc:sldMk cId="823282190" sldId="602"/>
            <ac:spMk id="28" creationId="{778232BD-0C7F-4F09-9C8E-630290DF54DE}"/>
          </ac:spMkLst>
        </pc:spChg>
        <pc:spChg chg="del">
          <ac:chgData name="Ravindran, Vinitha" userId="82ce3cca-7558-454b-843d-12c117c3060e" providerId="ADAL" clId="{B2A3330E-95B9-4AD1-B54B-8ED847DFDE0F}" dt="2020-03-11T17:04:40.124" v="379" actId="478"/>
          <ac:spMkLst>
            <pc:docMk/>
            <pc:sldMk cId="823282190" sldId="602"/>
            <ac:spMk id="29" creationId="{5553448E-EEC0-44DB-AF5F-60BB7D8141C3}"/>
          </ac:spMkLst>
        </pc:spChg>
        <pc:spChg chg="del">
          <ac:chgData name="Ravindran, Vinitha" userId="82ce3cca-7558-454b-843d-12c117c3060e" providerId="ADAL" clId="{B2A3330E-95B9-4AD1-B54B-8ED847DFDE0F}" dt="2020-03-11T17:04:40.124" v="379" actId="478"/>
          <ac:spMkLst>
            <pc:docMk/>
            <pc:sldMk cId="823282190" sldId="602"/>
            <ac:spMk id="32" creationId="{140EB6D2-11C9-4BB3-93F5-E14991608B5C}"/>
          </ac:spMkLst>
        </pc:spChg>
        <pc:picChg chg="del">
          <ac:chgData name="Ravindran, Vinitha" userId="82ce3cca-7558-454b-843d-12c117c3060e" providerId="ADAL" clId="{B2A3330E-95B9-4AD1-B54B-8ED847DFDE0F}" dt="2020-03-11T17:04:37.231" v="378" actId="478"/>
          <ac:picMkLst>
            <pc:docMk/>
            <pc:sldMk cId="823282190" sldId="602"/>
            <ac:picMk id="3" creationId="{A8F32067-C175-462A-9013-2C267B4CEDB2}"/>
          </ac:picMkLst>
        </pc:picChg>
        <pc:cxnChg chg="del">
          <ac:chgData name="Ravindran, Vinitha" userId="82ce3cca-7558-454b-843d-12c117c3060e" providerId="ADAL" clId="{B2A3330E-95B9-4AD1-B54B-8ED847DFDE0F}" dt="2020-03-11T17:04:40.124" v="379" actId="478"/>
          <ac:cxnSpMkLst>
            <pc:docMk/>
            <pc:sldMk cId="823282190" sldId="602"/>
            <ac:cxnSpMk id="12" creationId="{3E3986C0-BE6F-4A48-92A2-51F544837ACB}"/>
          </ac:cxnSpMkLst>
        </pc:cxnChg>
        <pc:cxnChg chg="del">
          <ac:chgData name="Ravindran, Vinitha" userId="82ce3cca-7558-454b-843d-12c117c3060e" providerId="ADAL" clId="{B2A3330E-95B9-4AD1-B54B-8ED847DFDE0F}" dt="2020-03-11T17:04:40.124" v="379" actId="478"/>
          <ac:cxnSpMkLst>
            <pc:docMk/>
            <pc:sldMk cId="823282190" sldId="602"/>
            <ac:cxnSpMk id="13" creationId="{38399C9F-7571-44BA-986E-4A6EF385B412}"/>
          </ac:cxnSpMkLst>
        </pc:cxnChg>
        <pc:cxnChg chg="del mod">
          <ac:chgData name="Ravindran, Vinitha" userId="82ce3cca-7558-454b-843d-12c117c3060e" providerId="ADAL" clId="{B2A3330E-95B9-4AD1-B54B-8ED847DFDE0F}" dt="2020-03-11T17:04:40.124" v="379" actId="478"/>
          <ac:cxnSpMkLst>
            <pc:docMk/>
            <pc:sldMk cId="823282190" sldId="602"/>
            <ac:cxnSpMk id="14" creationId="{214253F9-36EF-472D-B0EB-BC42EAF79219}"/>
          </ac:cxnSpMkLst>
        </pc:cxnChg>
        <pc:cxnChg chg="del mod">
          <ac:chgData name="Ravindran, Vinitha" userId="82ce3cca-7558-454b-843d-12c117c3060e" providerId="ADAL" clId="{B2A3330E-95B9-4AD1-B54B-8ED847DFDE0F}" dt="2020-03-11T17:04:40.124" v="379" actId="478"/>
          <ac:cxnSpMkLst>
            <pc:docMk/>
            <pc:sldMk cId="823282190" sldId="602"/>
            <ac:cxnSpMk id="16" creationId="{62B7779D-6B92-4625-BC89-438A54EF3B29}"/>
          </ac:cxnSpMkLst>
        </pc:cxnChg>
        <pc:cxnChg chg="del">
          <ac:chgData name="Ravindran, Vinitha" userId="82ce3cca-7558-454b-843d-12c117c3060e" providerId="ADAL" clId="{B2A3330E-95B9-4AD1-B54B-8ED847DFDE0F}" dt="2020-03-11T17:04:40.124" v="379" actId="478"/>
          <ac:cxnSpMkLst>
            <pc:docMk/>
            <pc:sldMk cId="823282190" sldId="602"/>
            <ac:cxnSpMk id="20" creationId="{F16424CD-EE33-4C21-80BF-A0254492C416}"/>
          </ac:cxnSpMkLst>
        </pc:cxnChg>
        <pc:cxnChg chg="del">
          <ac:chgData name="Ravindran, Vinitha" userId="82ce3cca-7558-454b-843d-12c117c3060e" providerId="ADAL" clId="{B2A3330E-95B9-4AD1-B54B-8ED847DFDE0F}" dt="2020-03-11T17:04:40.124" v="379" actId="478"/>
          <ac:cxnSpMkLst>
            <pc:docMk/>
            <pc:sldMk cId="823282190" sldId="602"/>
            <ac:cxnSpMk id="22" creationId="{653ECA5C-C093-4E74-9674-5D1EB470A85C}"/>
          </ac:cxnSpMkLst>
        </pc:cxnChg>
        <pc:cxnChg chg="del">
          <ac:chgData name="Ravindran, Vinitha" userId="82ce3cca-7558-454b-843d-12c117c3060e" providerId="ADAL" clId="{B2A3330E-95B9-4AD1-B54B-8ED847DFDE0F}" dt="2020-03-11T17:04:40.124" v="379" actId="478"/>
          <ac:cxnSpMkLst>
            <pc:docMk/>
            <pc:sldMk cId="823282190" sldId="602"/>
            <ac:cxnSpMk id="24" creationId="{6D63D36B-0267-48FF-88F8-040771878630}"/>
          </ac:cxnSpMkLst>
        </pc:cxnChg>
        <pc:cxnChg chg="del">
          <ac:chgData name="Ravindran, Vinitha" userId="82ce3cca-7558-454b-843d-12c117c3060e" providerId="ADAL" clId="{B2A3330E-95B9-4AD1-B54B-8ED847DFDE0F}" dt="2020-03-11T17:04:40.124" v="379" actId="478"/>
          <ac:cxnSpMkLst>
            <pc:docMk/>
            <pc:sldMk cId="823282190" sldId="602"/>
            <ac:cxnSpMk id="25" creationId="{DE81560A-7DE5-40ED-9D3D-CCEDA2019750}"/>
          </ac:cxnSpMkLst>
        </pc:cxnChg>
        <pc:cxnChg chg="del">
          <ac:chgData name="Ravindran, Vinitha" userId="82ce3cca-7558-454b-843d-12c117c3060e" providerId="ADAL" clId="{B2A3330E-95B9-4AD1-B54B-8ED847DFDE0F}" dt="2020-03-11T17:04:40.124" v="379" actId="478"/>
          <ac:cxnSpMkLst>
            <pc:docMk/>
            <pc:sldMk cId="823282190" sldId="602"/>
            <ac:cxnSpMk id="27" creationId="{9F84CAD9-9D79-40FD-BBA7-A57066378483}"/>
          </ac:cxnSpMkLst>
        </pc:cxnChg>
        <pc:cxnChg chg="del mod">
          <ac:chgData name="Ravindran, Vinitha" userId="82ce3cca-7558-454b-843d-12c117c3060e" providerId="ADAL" clId="{B2A3330E-95B9-4AD1-B54B-8ED847DFDE0F}" dt="2020-03-11T17:04:40.124" v="379" actId="478"/>
          <ac:cxnSpMkLst>
            <pc:docMk/>
            <pc:sldMk cId="823282190" sldId="602"/>
            <ac:cxnSpMk id="30" creationId="{34F9305B-2C72-4D6C-8DFA-D9DF3B394CBD}"/>
          </ac:cxnSpMkLst>
        </pc:cxnChg>
      </pc:sldChg>
      <pc:sldChg chg="ord">
        <pc:chgData name="Ravindran, Vinitha" userId="82ce3cca-7558-454b-843d-12c117c3060e" providerId="ADAL" clId="{B2A3330E-95B9-4AD1-B54B-8ED847DFDE0F}" dt="2020-03-11T16:28:52.838" v="78"/>
        <pc:sldMkLst>
          <pc:docMk/>
          <pc:sldMk cId="3970951549" sldId="603"/>
        </pc:sldMkLst>
      </pc:sldChg>
      <pc:sldChg chg="ord">
        <pc:chgData name="Ravindran, Vinitha" userId="82ce3cca-7558-454b-843d-12c117c3060e" providerId="ADAL" clId="{B2A3330E-95B9-4AD1-B54B-8ED847DFDE0F}" dt="2020-03-11T16:28:52.838" v="78"/>
        <pc:sldMkLst>
          <pc:docMk/>
          <pc:sldMk cId="1471606470" sldId="605"/>
        </pc:sldMkLst>
      </pc:sldChg>
      <pc:sldChg chg="del">
        <pc:chgData name="Ravindran, Vinitha" userId="82ce3cca-7558-454b-843d-12c117c3060e" providerId="ADAL" clId="{B2A3330E-95B9-4AD1-B54B-8ED847DFDE0F}" dt="2020-03-11T16:13:02.197" v="3" actId="47"/>
        <pc:sldMkLst>
          <pc:docMk/>
          <pc:sldMk cId="1941918332" sldId="613"/>
        </pc:sldMkLst>
      </pc:sldChg>
      <pc:sldChg chg="del ord">
        <pc:chgData name="Ravindran, Vinitha" userId="82ce3cca-7558-454b-843d-12c117c3060e" providerId="ADAL" clId="{B2A3330E-95B9-4AD1-B54B-8ED847DFDE0F}" dt="2020-03-11T17:03:22.711" v="377" actId="47"/>
        <pc:sldMkLst>
          <pc:docMk/>
          <pc:sldMk cId="2926338788" sldId="615"/>
        </pc:sldMkLst>
      </pc:sldChg>
      <pc:sldChg chg="ord">
        <pc:chgData name="Ravindran, Vinitha" userId="82ce3cca-7558-454b-843d-12c117c3060e" providerId="ADAL" clId="{B2A3330E-95B9-4AD1-B54B-8ED847DFDE0F}" dt="2020-03-11T16:34:11.431" v="100"/>
        <pc:sldMkLst>
          <pc:docMk/>
          <pc:sldMk cId="464338" sldId="642"/>
        </pc:sldMkLst>
      </pc:sldChg>
      <pc:sldChg chg="delSp modSp mod ord delAnim">
        <pc:chgData name="Ravindran, Vinitha" userId="82ce3cca-7558-454b-843d-12c117c3060e" providerId="ADAL" clId="{B2A3330E-95B9-4AD1-B54B-8ED847DFDE0F}" dt="2020-03-11T16:50:07.830" v="241"/>
        <pc:sldMkLst>
          <pc:docMk/>
          <pc:sldMk cId="488941176" sldId="643"/>
        </pc:sldMkLst>
        <pc:spChg chg="mod">
          <ac:chgData name="Ravindran, Vinitha" userId="82ce3cca-7558-454b-843d-12c117c3060e" providerId="ADAL" clId="{B2A3330E-95B9-4AD1-B54B-8ED847DFDE0F}" dt="2020-03-11T16:30:45.100" v="95" actId="1036"/>
          <ac:spMkLst>
            <pc:docMk/>
            <pc:sldMk cId="488941176" sldId="643"/>
            <ac:spMk id="5" creationId="{0230B4A8-42BC-44F2-8424-DB025E09840C}"/>
          </ac:spMkLst>
        </pc:spChg>
        <pc:spChg chg="del">
          <ac:chgData name="Ravindran, Vinitha" userId="82ce3cca-7558-454b-843d-12c117c3060e" providerId="ADAL" clId="{B2A3330E-95B9-4AD1-B54B-8ED847DFDE0F}" dt="2020-03-11T16:29:39.061" v="81" actId="478"/>
          <ac:spMkLst>
            <pc:docMk/>
            <pc:sldMk cId="488941176" sldId="643"/>
            <ac:spMk id="6" creationId="{362A30F9-E859-4834-8C11-58A839DCC689}"/>
          </ac:spMkLst>
        </pc:spChg>
        <pc:spChg chg="del topLvl">
          <ac:chgData name="Ravindran, Vinitha" userId="82ce3cca-7558-454b-843d-12c117c3060e" providerId="ADAL" clId="{B2A3330E-95B9-4AD1-B54B-8ED847DFDE0F}" dt="2020-03-11T16:30:20.297" v="87" actId="478"/>
          <ac:spMkLst>
            <pc:docMk/>
            <pc:sldMk cId="488941176" sldId="643"/>
            <ac:spMk id="39" creationId="{1D1B617C-F40E-40BD-AB0E-DB1BE4DA5C43}"/>
          </ac:spMkLst>
        </pc:spChg>
        <pc:spChg chg="del mod topLvl">
          <ac:chgData name="Ravindran, Vinitha" userId="82ce3cca-7558-454b-843d-12c117c3060e" providerId="ADAL" clId="{B2A3330E-95B9-4AD1-B54B-8ED847DFDE0F}" dt="2020-03-11T16:30:03.462" v="86" actId="478"/>
          <ac:spMkLst>
            <pc:docMk/>
            <pc:sldMk cId="488941176" sldId="643"/>
            <ac:spMk id="42" creationId="{1F940477-79B0-447E-B314-008E23A87557}"/>
          </ac:spMkLst>
        </pc:spChg>
        <pc:spChg chg="del topLvl">
          <ac:chgData name="Ravindran, Vinitha" userId="82ce3cca-7558-454b-843d-12c117c3060e" providerId="ADAL" clId="{B2A3330E-95B9-4AD1-B54B-8ED847DFDE0F}" dt="2020-03-11T16:29:51.487" v="83" actId="478"/>
          <ac:spMkLst>
            <pc:docMk/>
            <pc:sldMk cId="488941176" sldId="643"/>
            <ac:spMk id="43" creationId="{1F69AF82-A652-480B-BCB2-55453B10A06B}"/>
          </ac:spMkLst>
        </pc:spChg>
        <pc:spChg chg="mod topLvl">
          <ac:chgData name="Ravindran, Vinitha" userId="82ce3cca-7558-454b-843d-12c117c3060e" providerId="ADAL" clId="{B2A3330E-95B9-4AD1-B54B-8ED847DFDE0F}" dt="2020-03-11T16:30:34.456" v="91" actId="1076"/>
          <ac:spMkLst>
            <pc:docMk/>
            <pc:sldMk cId="488941176" sldId="643"/>
            <ac:spMk id="49" creationId="{91F5742B-82D7-44FC-B60B-09CDB1053B3E}"/>
          </ac:spMkLst>
        </pc:spChg>
        <pc:grpChg chg="del">
          <ac:chgData name="Ravindran, Vinitha" userId="82ce3cca-7558-454b-843d-12c117c3060e" providerId="ADAL" clId="{B2A3330E-95B9-4AD1-B54B-8ED847DFDE0F}" dt="2020-03-11T16:29:51.487" v="83" actId="478"/>
          <ac:grpSpMkLst>
            <pc:docMk/>
            <pc:sldMk cId="488941176" sldId="643"/>
            <ac:grpSpMk id="2" creationId="{0B92776A-9545-4A97-A3A7-214EC89C69D2}"/>
          </ac:grpSpMkLst>
        </pc:grpChg>
        <pc:grpChg chg="del">
          <ac:chgData name="Ravindran, Vinitha" userId="82ce3cca-7558-454b-843d-12c117c3060e" providerId="ADAL" clId="{B2A3330E-95B9-4AD1-B54B-8ED847DFDE0F}" dt="2020-03-11T16:29:42.202" v="82" actId="478"/>
          <ac:grpSpMkLst>
            <pc:docMk/>
            <pc:sldMk cId="488941176" sldId="643"/>
            <ac:grpSpMk id="3" creationId="{09DCC6CE-3289-4DE5-8B70-789ABB47A227}"/>
          </ac:grpSpMkLst>
        </pc:grpChg>
        <pc:grpChg chg="del">
          <ac:chgData name="Ravindran, Vinitha" userId="82ce3cca-7558-454b-843d-12c117c3060e" providerId="ADAL" clId="{B2A3330E-95B9-4AD1-B54B-8ED847DFDE0F}" dt="2020-03-11T16:30:03.462" v="86" actId="478"/>
          <ac:grpSpMkLst>
            <pc:docMk/>
            <pc:sldMk cId="488941176" sldId="643"/>
            <ac:grpSpMk id="4" creationId="{93545198-D048-4AB0-BE6A-A05ADF35525D}"/>
          </ac:grpSpMkLst>
        </pc:grpChg>
      </pc:sldChg>
      <pc:sldChg chg="del ord">
        <pc:chgData name="Ravindran, Vinitha" userId="82ce3cca-7558-454b-843d-12c117c3060e" providerId="ADAL" clId="{B2A3330E-95B9-4AD1-B54B-8ED847DFDE0F}" dt="2020-03-11T16:31:22.244" v="96" actId="47"/>
        <pc:sldMkLst>
          <pc:docMk/>
          <pc:sldMk cId="226604454" sldId="649"/>
        </pc:sldMkLst>
      </pc:sldChg>
      <pc:sldChg chg="del">
        <pc:chgData name="Ravindran, Vinitha" userId="82ce3cca-7558-454b-843d-12c117c3060e" providerId="ADAL" clId="{B2A3330E-95B9-4AD1-B54B-8ED847DFDE0F}" dt="2020-03-11T16:12:59.176" v="0" actId="47"/>
        <pc:sldMkLst>
          <pc:docMk/>
          <pc:sldMk cId="4024293065" sldId="655"/>
        </pc:sldMkLst>
      </pc:sldChg>
      <pc:sldChg chg="del">
        <pc:chgData name="Ravindran, Vinitha" userId="82ce3cca-7558-454b-843d-12c117c3060e" providerId="ADAL" clId="{B2A3330E-95B9-4AD1-B54B-8ED847DFDE0F}" dt="2020-03-11T16:13:00.384" v="2" actId="47"/>
        <pc:sldMkLst>
          <pc:docMk/>
          <pc:sldMk cId="557466854" sldId="656"/>
        </pc:sldMkLst>
      </pc:sldChg>
      <pc:sldChg chg="del">
        <pc:chgData name="Ravindran, Vinitha" userId="82ce3cca-7558-454b-843d-12c117c3060e" providerId="ADAL" clId="{B2A3330E-95B9-4AD1-B54B-8ED847DFDE0F}" dt="2020-03-11T16:12:59.763" v="1" actId="47"/>
        <pc:sldMkLst>
          <pc:docMk/>
          <pc:sldMk cId="2877792185" sldId="657"/>
        </pc:sldMkLst>
      </pc:sldChg>
      <pc:sldChg chg="modSp ord">
        <pc:chgData name="Ravindran, Vinitha" userId="82ce3cca-7558-454b-843d-12c117c3060e" providerId="ADAL" clId="{B2A3330E-95B9-4AD1-B54B-8ED847DFDE0F}" dt="2020-03-11T18:17:50.704" v="434"/>
        <pc:sldMkLst>
          <pc:docMk/>
          <pc:sldMk cId="138471474" sldId="672"/>
        </pc:sldMkLst>
        <pc:spChg chg="mod">
          <ac:chgData name="Ravindran, Vinitha" userId="82ce3cca-7558-454b-843d-12c117c3060e" providerId="ADAL" clId="{B2A3330E-95B9-4AD1-B54B-8ED847DFDE0F}" dt="2020-03-11T18:17:50.704" v="434"/>
          <ac:spMkLst>
            <pc:docMk/>
            <pc:sldMk cId="138471474" sldId="672"/>
            <ac:spMk id="11" creationId="{9C454995-C216-41AE-9F62-91A5453D98F7}"/>
          </ac:spMkLst>
        </pc:spChg>
      </pc:sldChg>
      <pc:sldChg chg="modSp ord">
        <pc:chgData name="Ravindran, Vinitha" userId="82ce3cca-7558-454b-843d-12c117c3060e" providerId="ADAL" clId="{B2A3330E-95B9-4AD1-B54B-8ED847DFDE0F}" dt="2020-03-11T18:17:57.016" v="435"/>
        <pc:sldMkLst>
          <pc:docMk/>
          <pc:sldMk cId="3919357579" sldId="673"/>
        </pc:sldMkLst>
        <pc:spChg chg="mod">
          <ac:chgData name="Ravindran, Vinitha" userId="82ce3cca-7558-454b-843d-12c117c3060e" providerId="ADAL" clId="{B2A3330E-95B9-4AD1-B54B-8ED847DFDE0F}" dt="2020-03-11T18:17:57.016" v="435"/>
          <ac:spMkLst>
            <pc:docMk/>
            <pc:sldMk cId="3919357579" sldId="673"/>
            <ac:spMk id="11" creationId="{7B133979-C389-43B3-A558-29466FBCFF81}"/>
          </ac:spMkLst>
        </pc:spChg>
      </pc:sldChg>
      <pc:sldChg chg="modSp ord">
        <pc:chgData name="Ravindran, Vinitha" userId="82ce3cca-7558-454b-843d-12c117c3060e" providerId="ADAL" clId="{B2A3330E-95B9-4AD1-B54B-8ED847DFDE0F}" dt="2020-03-11T18:18:01.435" v="436"/>
        <pc:sldMkLst>
          <pc:docMk/>
          <pc:sldMk cId="140440548" sldId="674"/>
        </pc:sldMkLst>
        <pc:spChg chg="mod">
          <ac:chgData name="Ravindran, Vinitha" userId="82ce3cca-7558-454b-843d-12c117c3060e" providerId="ADAL" clId="{B2A3330E-95B9-4AD1-B54B-8ED847DFDE0F}" dt="2020-03-11T18:18:01.435" v="436"/>
          <ac:spMkLst>
            <pc:docMk/>
            <pc:sldMk cId="140440548" sldId="674"/>
            <ac:spMk id="11" creationId="{AD1DB4CA-C788-49D2-B457-0C86EB4D9B24}"/>
          </ac:spMkLst>
        </pc:spChg>
      </pc:sldChg>
      <pc:sldChg chg="modSp ord">
        <pc:chgData name="Ravindran, Vinitha" userId="82ce3cca-7558-454b-843d-12c117c3060e" providerId="ADAL" clId="{B2A3330E-95B9-4AD1-B54B-8ED847DFDE0F}" dt="2020-03-11T18:18:05.416" v="437"/>
        <pc:sldMkLst>
          <pc:docMk/>
          <pc:sldMk cId="2876342915" sldId="675"/>
        </pc:sldMkLst>
        <pc:spChg chg="mod">
          <ac:chgData name="Ravindran, Vinitha" userId="82ce3cca-7558-454b-843d-12c117c3060e" providerId="ADAL" clId="{B2A3330E-95B9-4AD1-B54B-8ED847DFDE0F}" dt="2020-03-11T18:18:05.416" v="437"/>
          <ac:spMkLst>
            <pc:docMk/>
            <pc:sldMk cId="2876342915" sldId="675"/>
            <ac:spMk id="11" creationId="{9CD68799-F0A1-43F2-A64C-F13A05A2680F}"/>
          </ac:spMkLst>
        </pc:spChg>
      </pc:sldChg>
      <pc:sldChg chg="ord">
        <pc:chgData name="Ravindran, Vinitha" userId="82ce3cca-7558-454b-843d-12c117c3060e" providerId="ADAL" clId="{B2A3330E-95B9-4AD1-B54B-8ED847DFDE0F}" dt="2020-03-11T16:28:52.838" v="78"/>
        <pc:sldMkLst>
          <pc:docMk/>
          <pc:sldMk cId="2939299729" sldId="676"/>
        </pc:sldMkLst>
      </pc:sldChg>
      <pc:sldChg chg="addSp delSp modSp add mod ord">
        <pc:chgData name="Ravindran, Vinitha" userId="82ce3cca-7558-454b-843d-12c117c3060e" providerId="ADAL" clId="{B2A3330E-95B9-4AD1-B54B-8ED847DFDE0F}" dt="2020-03-11T17:01:33.963" v="364" actId="1036"/>
        <pc:sldMkLst>
          <pc:docMk/>
          <pc:sldMk cId="3054643203" sldId="702"/>
        </pc:sldMkLst>
        <pc:spChg chg="mod">
          <ac:chgData name="Ravindran, Vinitha" userId="82ce3cca-7558-454b-843d-12c117c3060e" providerId="ADAL" clId="{B2A3330E-95B9-4AD1-B54B-8ED847DFDE0F}" dt="2020-03-11T16:27:22.868" v="58" actId="1038"/>
          <ac:spMkLst>
            <pc:docMk/>
            <pc:sldMk cId="3054643203" sldId="702"/>
            <ac:spMk id="12" creationId="{85E9CE27-2030-4F3A-9D2C-E12878C8A7C0}"/>
          </ac:spMkLst>
        </pc:spChg>
        <pc:spChg chg="mod">
          <ac:chgData name="Ravindran, Vinitha" userId="82ce3cca-7558-454b-843d-12c117c3060e" providerId="ADAL" clId="{B2A3330E-95B9-4AD1-B54B-8ED847DFDE0F}" dt="2020-03-11T16:27:22.868" v="58" actId="1038"/>
          <ac:spMkLst>
            <pc:docMk/>
            <pc:sldMk cId="3054643203" sldId="702"/>
            <ac:spMk id="13" creationId="{B0EA4947-080A-48EC-8D55-C9F852E7AA58}"/>
          </ac:spMkLst>
        </pc:spChg>
        <pc:spChg chg="mod">
          <ac:chgData name="Ravindran, Vinitha" userId="82ce3cca-7558-454b-843d-12c117c3060e" providerId="ADAL" clId="{B2A3330E-95B9-4AD1-B54B-8ED847DFDE0F}" dt="2020-03-11T16:27:22.868" v="58" actId="1038"/>
          <ac:spMkLst>
            <pc:docMk/>
            <pc:sldMk cId="3054643203" sldId="702"/>
            <ac:spMk id="14" creationId="{A0CCDD60-CD05-47FF-83C6-1FF567E4FEAF}"/>
          </ac:spMkLst>
        </pc:spChg>
        <pc:spChg chg="del">
          <ac:chgData name="Ravindran, Vinitha" userId="82ce3cca-7558-454b-843d-12c117c3060e" providerId="ADAL" clId="{B2A3330E-95B9-4AD1-B54B-8ED847DFDE0F}" dt="2020-03-11T16:27:05.022" v="14" actId="478"/>
          <ac:spMkLst>
            <pc:docMk/>
            <pc:sldMk cId="3054643203" sldId="702"/>
            <ac:spMk id="20" creationId="{88AE1D02-9DDA-46C3-AC1C-D2BD4DA52B82}"/>
          </ac:spMkLst>
        </pc:spChg>
        <pc:spChg chg="del">
          <ac:chgData name="Ravindran, Vinitha" userId="82ce3cca-7558-454b-843d-12c117c3060e" providerId="ADAL" clId="{B2A3330E-95B9-4AD1-B54B-8ED847DFDE0F}" dt="2020-03-11T16:26:48.137" v="10" actId="478"/>
          <ac:spMkLst>
            <pc:docMk/>
            <pc:sldMk cId="3054643203" sldId="702"/>
            <ac:spMk id="21" creationId="{E6B97F17-A292-4E47-8D71-83116C299939}"/>
          </ac:spMkLst>
        </pc:spChg>
        <pc:spChg chg="del mod">
          <ac:chgData name="Ravindran, Vinitha" userId="82ce3cca-7558-454b-843d-12c117c3060e" providerId="ADAL" clId="{B2A3330E-95B9-4AD1-B54B-8ED847DFDE0F}" dt="2020-03-11T16:27:02.564" v="13" actId="478"/>
          <ac:spMkLst>
            <pc:docMk/>
            <pc:sldMk cId="3054643203" sldId="702"/>
            <ac:spMk id="22" creationId="{74D45517-FD5D-4284-9759-2E22A1B98E28}"/>
          </ac:spMkLst>
        </pc:spChg>
        <pc:spChg chg="add del mod">
          <ac:chgData name="Ravindran, Vinitha" userId="82ce3cca-7558-454b-843d-12c117c3060e" providerId="ADAL" clId="{B2A3330E-95B9-4AD1-B54B-8ED847DFDE0F}" dt="2020-03-11T16:54:35.211" v="330" actId="478"/>
          <ac:spMkLst>
            <pc:docMk/>
            <pc:sldMk cId="3054643203" sldId="702"/>
            <ac:spMk id="23" creationId="{163E869E-86E8-41EF-80D7-E6E3567FFB24}"/>
          </ac:spMkLst>
        </pc:spChg>
        <pc:spChg chg="add mod">
          <ac:chgData name="Ravindran, Vinitha" userId="82ce3cca-7558-454b-843d-12c117c3060e" providerId="ADAL" clId="{B2A3330E-95B9-4AD1-B54B-8ED847DFDE0F}" dt="2020-03-11T16:59:25.507" v="350" actId="1036"/>
          <ac:spMkLst>
            <pc:docMk/>
            <pc:sldMk cId="3054643203" sldId="702"/>
            <ac:spMk id="34" creationId="{849F8015-A73D-43EC-BD67-5EF7C8368462}"/>
          </ac:spMkLst>
        </pc:spChg>
        <pc:spChg chg="add del">
          <ac:chgData name="Ravindran, Vinitha" userId="82ce3cca-7558-454b-843d-12c117c3060e" providerId="ADAL" clId="{B2A3330E-95B9-4AD1-B54B-8ED847DFDE0F}" dt="2020-03-11T17:00:41.919" v="356" actId="478"/>
          <ac:spMkLst>
            <pc:docMk/>
            <pc:sldMk cId="3054643203" sldId="702"/>
            <ac:spMk id="43" creationId="{A6E5F83A-827C-4729-AED9-D944D39D32E5}"/>
          </ac:spMkLst>
        </pc:spChg>
        <pc:grpChg chg="mod">
          <ac:chgData name="Ravindran, Vinitha" userId="82ce3cca-7558-454b-843d-12c117c3060e" providerId="ADAL" clId="{B2A3330E-95B9-4AD1-B54B-8ED847DFDE0F}" dt="2020-03-11T16:59:18.273" v="344" actId="688"/>
          <ac:grpSpMkLst>
            <pc:docMk/>
            <pc:sldMk cId="3054643203" sldId="702"/>
            <ac:grpSpMk id="2" creationId="{58B559F5-DD75-4155-A37F-FB872C4ADE91}"/>
          </ac:grpSpMkLst>
        </pc:grpChg>
        <pc:grpChg chg="mod">
          <ac:chgData name="Ravindran, Vinitha" userId="82ce3cca-7558-454b-843d-12c117c3060e" providerId="ADAL" clId="{B2A3330E-95B9-4AD1-B54B-8ED847DFDE0F}" dt="2020-03-11T16:27:22.868" v="58" actId="1038"/>
          <ac:grpSpMkLst>
            <pc:docMk/>
            <pc:sldMk cId="3054643203" sldId="702"/>
            <ac:grpSpMk id="15" creationId="{452DDC6D-1F5E-4C6F-BD11-39AAB1860EC0}"/>
          </ac:grpSpMkLst>
        </pc:grpChg>
        <pc:grpChg chg="del mod">
          <ac:chgData name="Ravindran, Vinitha" userId="82ce3cca-7558-454b-843d-12c117c3060e" providerId="ADAL" clId="{B2A3330E-95B9-4AD1-B54B-8ED847DFDE0F}" dt="2020-03-11T16:27:25.257" v="59" actId="478"/>
          <ac:grpSpMkLst>
            <pc:docMk/>
            <pc:sldMk cId="3054643203" sldId="702"/>
            <ac:grpSpMk id="24" creationId="{E9B9141C-DDE8-4F8B-BEA1-EA84532F6AA1}"/>
          </ac:grpSpMkLst>
        </pc:grpChg>
        <pc:grpChg chg="del mod">
          <ac:chgData name="Ravindran, Vinitha" userId="82ce3cca-7558-454b-843d-12c117c3060e" providerId="ADAL" clId="{B2A3330E-95B9-4AD1-B54B-8ED847DFDE0F}" dt="2020-03-11T16:54:12.101" v="286" actId="478"/>
          <ac:grpSpMkLst>
            <pc:docMk/>
            <pc:sldMk cId="3054643203" sldId="702"/>
            <ac:grpSpMk id="27" creationId="{28C217DB-E927-46CB-A5E1-0DB322111168}"/>
          </ac:grpSpMkLst>
        </pc:grpChg>
        <pc:grpChg chg="add mod">
          <ac:chgData name="Ravindran, Vinitha" userId="82ce3cca-7558-454b-843d-12c117c3060e" providerId="ADAL" clId="{B2A3330E-95B9-4AD1-B54B-8ED847DFDE0F}" dt="2020-03-11T17:01:33.963" v="364" actId="1036"/>
          <ac:grpSpMkLst>
            <pc:docMk/>
            <pc:sldMk cId="3054643203" sldId="702"/>
            <ac:grpSpMk id="35" creationId="{552CA59B-5316-4FFE-92E9-FEF547FA151D}"/>
          </ac:grpSpMkLst>
        </pc:grpChg>
        <pc:grpChg chg="add mod">
          <ac:chgData name="Ravindran, Vinitha" userId="82ce3cca-7558-454b-843d-12c117c3060e" providerId="ADAL" clId="{B2A3330E-95B9-4AD1-B54B-8ED847DFDE0F}" dt="2020-03-11T17:01:33.963" v="364" actId="1036"/>
          <ac:grpSpMkLst>
            <pc:docMk/>
            <pc:sldMk cId="3054643203" sldId="702"/>
            <ac:grpSpMk id="38" creationId="{235B6CA9-C9E7-4066-9D1C-34DE704B11AA}"/>
          </ac:grpSpMkLst>
        </pc:grpChg>
        <pc:picChg chg="add mod">
          <ac:chgData name="Ravindran, Vinitha" userId="82ce3cca-7558-454b-843d-12c117c3060e" providerId="ADAL" clId="{B2A3330E-95B9-4AD1-B54B-8ED847DFDE0F}" dt="2020-03-11T17:01:24.963" v="361" actId="208"/>
          <ac:picMkLst>
            <pc:docMk/>
            <pc:sldMk cId="3054643203" sldId="702"/>
            <ac:picMk id="42" creationId="{C06E63B4-A19C-4AB2-B060-10A44625C53D}"/>
          </ac:picMkLst>
        </pc:picChg>
      </pc:sldChg>
      <pc:sldChg chg="add ord">
        <pc:chgData name="Ravindran, Vinitha" userId="82ce3cca-7558-454b-843d-12c117c3060e" providerId="ADAL" clId="{B2A3330E-95B9-4AD1-B54B-8ED847DFDE0F}" dt="2020-03-11T16:28:52.838" v="78"/>
        <pc:sldMkLst>
          <pc:docMk/>
          <pc:sldMk cId="1933240976" sldId="703"/>
        </pc:sldMkLst>
      </pc:sldChg>
      <pc:sldChg chg="add">
        <pc:chgData name="Ravindran, Vinitha" userId="82ce3cca-7558-454b-843d-12c117c3060e" providerId="ADAL" clId="{B2A3330E-95B9-4AD1-B54B-8ED847DFDE0F}" dt="2020-03-11T16:49:08.662" v="232"/>
        <pc:sldMkLst>
          <pc:docMk/>
          <pc:sldMk cId="2505812333" sldId="704"/>
        </pc:sldMkLst>
      </pc:sldChg>
      <pc:sldChg chg="addSp delSp add modAnim">
        <pc:chgData name="Ravindran, Vinitha" userId="82ce3cca-7558-454b-843d-12c117c3060e" providerId="ADAL" clId="{B2A3330E-95B9-4AD1-B54B-8ED847DFDE0F}" dt="2020-03-11T17:03:10.120" v="376"/>
        <pc:sldMkLst>
          <pc:docMk/>
          <pc:sldMk cId="1162229833" sldId="705"/>
        </pc:sldMkLst>
        <pc:spChg chg="del">
          <ac:chgData name="Ravindran, Vinitha" userId="82ce3cca-7558-454b-843d-12c117c3060e" providerId="ADAL" clId="{B2A3330E-95B9-4AD1-B54B-8ED847DFDE0F}" dt="2020-03-11T17:03:01.698" v="375" actId="478"/>
          <ac:spMkLst>
            <pc:docMk/>
            <pc:sldMk cId="1162229833" sldId="705"/>
            <ac:spMk id="10" creationId="{D3D933CA-C768-4E62-BAA4-4CB553AF3644}"/>
          </ac:spMkLst>
        </pc:spChg>
        <pc:spChg chg="add">
          <ac:chgData name="Ravindran, Vinitha" userId="82ce3cca-7558-454b-843d-12c117c3060e" providerId="ADAL" clId="{B2A3330E-95B9-4AD1-B54B-8ED847DFDE0F}" dt="2020-03-11T17:03:10.120" v="376"/>
          <ac:spMkLst>
            <pc:docMk/>
            <pc:sldMk cId="1162229833" sldId="705"/>
            <ac:spMk id="40" creationId="{DBD7A9E3-5CB8-4E5D-9E86-BCFBEBD99CCA}"/>
          </ac:spMkLst>
        </pc:spChg>
        <pc:spChg chg="add">
          <ac:chgData name="Ravindran, Vinitha" userId="82ce3cca-7558-454b-843d-12c117c3060e" providerId="ADAL" clId="{B2A3330E-95B9-4AD1-B54B-8ED847DFDE0F}" dt="2020-03-11T17:03:10.120" v="376"/>
          <ac:spMkLst>
            <pc:docMk/>
            <pc:sldMk cId="1162229833" sldId="705"/>
            <ac:spMk id="41" creationId="{585DBEF4-19C4-4423-A75F-46007240980C}"/>
          </ac:spMkLst>
        </pc:spChg>
        <pc:grpChg chg="del">
          <ac:chgData name="Ravindran, Vinitha" userId="82ce3cca-7558-454b-843d-12c117c3060e" providerId="ADAL" clId="{B2A3330E-95B9-4AD1-B54B-8ED847DFDE0F}" dt="2020-03-11T17:03:01.698" v="375" actId="478"/>
          <ac:grpSpMkLst>
            <pc:docMk/>
            <pc:sldMk cId="1162229833" sldId="705"/>
            <ac:grpSpMk id="6" creationId="{3F7723DE-B25B-4CAD-9415-773F5DA1A0C6}"/>
          </ac:grpSpMkLst>
        </pc:grpChg>
        <pc:grpChg chg="del">
          <ac:chgData name="Ravindran, Vinitha" userId="82ce3cca-7558-454b-843d-12c117c3060e" providerId="ADAL" clId="{B2A3330E-95B9-4AD1-B54B-8ED847DFDE0F}" dt="2020-03-11T17:03:01.698" v="375" actId="478"/>
          <ac:grpSpMkLst>
            <pc:docMk/>
            <pc:sldMk cId="1162229833" sldId="705"/>
            <ac:grpSpMk id="26" creationId="{537BB773-3BC7-4216-9A86-81AE37A602ED}"/>
          </ac:grpSpMkLst>
        </pc:grpChg>
        <pc:grpChg chg="del">
          <ac:chgData name="Ravindran, Vinitha" userId="82ce3cca-7558-454b-843d-12c117c3060e" providerId="ADAL" clId="{B2A3330E-95B9-4AD1-B54B-8ED847DFDE0F}" dt="2020-03-11T17:03:01.698" v="375" actId="478"/>
          <ac:grpSpMkLst>
            <pc:docMk/>
            <pc:sldMk cId="1162229833" sldId="705"/>
            <ac:grpSpMk id="27" creationId="{FF6DBEC1-D4AE-46A3-BF88-74DFDEE6B246}"/>
          </ac:grpSpMkLst>
        </pc:grpChg>
        <pc:grpChg chg="add">
          <ac:chgData name="Ravindran, Vinitha" userId="82ce3cca-7558-454b-843d-12c117c3060e" providerId="ADAL" clId="{B2A3330E-95B9-4AD1-B54B-8ED847DFDE0F}" dt="2020-03-11T17:03:10.120" v="376"/>
          <ac:grpSpMkLst>
            <pc:docMk/>
            <pc:sldMk cId="1162229833" sldId="705"/>
            <ac:grpSpMk id="28" creationId="{4E7DD39C-D6BC-4DD3-AC6D-7B649A92BDA7}"/>
          </ac:grpSpMkLst>
        </pc:grpChg>
        <pc:grpChg chg="add">
          <ac:chgData name="Ravindran, Vinitha" userId="82ce3cca-7558-454b-843d-12c117c3060e" providerId="ADAL" clId="{B2A3330E-95B9-4AD1-B54B-8ED847DFDE0F}" dt="2020-03-11T17:03:10.120" v="376"/>
          <ac:grpSpMkLst>
            <pc:docMk/>
            <pc:sldMk cId="1162229833" sldId="705"/>
            <ac:grpSpMk id="32" creationId="{0ACF843D-DE91-4AC0-8FF7-B7B4978AA90F}"/>
          </ac:grpSpMkLst>
        </pc:grpChg>
        <pc:grpChg chg="add">
          <ac:chgData name="Ravindran, Vinitha" userId="82ce3cca-7558-454b-843d-12c117c3060e" providerId="ADAL" clId="{B2A3330E-95B9-4AD1-B54B-8ED847DFDE0F}" dt="2020-03-11T17:03:10.120" v="376"/>
          <ac:grpSpMkLst>
            <pc:docMk/>
            <pc:sldMk cId="1162229833" sldId="705"/>
            <ac:grpSpMk id="36" creationId="{B70DE374-C284-4B6C-A8A7-F63233354BBF}"/>
          </ac:grpSpMkLst>
        </pc:grpChg>
        <pc:picChg chg="del">
          <ac:chgData name="Ravindran, Vinitha" userId="82ce3cca-7558-454b-843d-12c117c3060e" providerId="ADAL" clId="{B2A3330E-95B9-4AD1-B54B-8ED847DFDE0F}" dt="2020-03-11T17:03:01.698" v="375" actId="478"/>
          <ac:picMkLst>
            <pc:docMk/>
            <pc:sldMk cId="1162229833" sldId="705"/>
            <ac:picMk id="3" creationId="{78BEC732-D9F3-43EF-8FAE-796786D56794}"/>
          </ac:picMkLst>
        </pc:picChg>
        <pc:picChg chg="del">
          <ac:chgData name="Ravindran, Vinitha" userId="82ce3cca-7558-454b-843d-12c117c3060e" providerId="ADAL" clId="{B2A3330E-95B9-4AD1-B54B-8ED847DFDE0F}" dt="2020-03-11T17:03:01.698" v="375" actId="478"/>
          <ac:picMkLst>
            <pc:docMk/>
            <pc:sldMk cId="1162229833" sldId="705"/>
            <ac:picMk id="9" creationId="{2B058395-B2FB-47E3-BA14-8793B7FFA287}"/>
          </ac:picMkLst>
        </pc:picChg>
      </pc:sldChg>
      <pc:sldChg chg="addSp delSp modSp mod modAnim">
        <pc:chgData name="Ravindran, Vinitha" userId="82ce3cca-7558-454b-843d-12c117c3060e" providerId="ADAL" clId="{B2A3330E-95B9-4AD1-B54B-8ED847DFDE0F}" dt="2020-03-11T19:10:57.645" v="2029" actId="1036"/>
        <pc:sldMkLst>
          <pc:docMk/>
          <pc:sldMk cId="4132586566" sldId="707"/>
        </pc:sldMkLst>
        <pc:spChg chg="add mod">
          <ac:chgData name="Ravindran, Vinitha" userId="82ce3cca-7558-454b-843d-12c117c3060e" providerId="ADAL" clId="{B2A3330E-95B9-4AD1-B54B-8ED847DFDE0F}" dt="2020-03-11T18:39:49.315" v="920" actId="207"/>
          <ac:spMkLst>
            <pc:docMk/>
            <pc:sldMk cId="4132586566" sldId="707"/>
            <ac:spMk id="2" creationId="{0333FA9C-A593-415F-AAFB-70266568945D}"/>
          </ac:spMkLst>
        </pc:spChg>
        <pc:spChg chg="mod">
          <ac:chgData name="Ravindran, Vinitha" userId="82ce3cca-7558-454b-843d-12c117c3060e" providerId="ADAL" clId="{B2A3330E-95B9-4AD1-B54B-8ED847DFDE0F}" dt="2020-03-11T19:10:34.833" v="2018" actId="1037"/>
          <ac:spMkLst>
            <pc:docMk/>
            <pc:sldMk cId="4132586566" sldId="707"/>
            <ac:spMk id="5" creationId="{1B4D80ED-4756-4041-A9D8-593328DF3775}"/>
          </ac:spMkLst>
        </pc:spChg>
        <pc:spChg chg="add mod">
          <ac:chgData name="Ravindran, Vinitha" userId="82ce3cca-7558-454b-843d-12c117c3060e" providerId="ADAL" clId="{B2A3330E-95B9-4AD1-B54B-8ED847DFDE0F}" dt="2020-03-11T19:05:27.112" v="1584" actId="688"/>
          <ac:spMkLst>
            <pc:docMk/>
            <pc:sldMk cId="4132586566" sldId="707"/>
            <ac:spMk id="8" creationId="{10733FE1-D8EB-46B4-B3CE-1AFE4E0F4DCA}"/>
          </ac:spMkLst>
        </pc:spChg>
        <pc:spChg chg="add del mod">
          <ac:chgData name="Ravindran, Vinitha" userId="82ce3cca-7558-454b-843d-12c117c3060e" providerId="ADAL" clId="{B2A3330E-95B9-4AD1-B54B-8ED847DFDE0F}" dt="2020-03-11T18:29:28.303" v="490" actId="478"/>
          <ac:spMkLst>
            <pc:docMk/>
            <pc:sldMk cId="4132586566" sldId="707"/>
            <ac:spMk id="9" creationId="{1EC514DB-59C7-4C6E-8EF5-D3395A79ACBB}"/>
          </ac:spMkLst>
        </pc:spChg>
        <pc:spChg chg="del mod topLvl">
          <ac:chgData name="Ravindran, Vinitha" userId="82ce3cca-7558-454b-843d-12c117c3060e" providerId="ADAL" clId="{B2A3330E-95B9-4AD1-B54B-8ED847DFDE0F}" dt="2020-03-11T18:29:34.048" v="492" actId="478"/>
          <ac:spMkLst>
            <pc:docMk/>
            <pc:sldMk cId="4132586566" sldId="707"/>
            <ac:spMk id="11" creationId="{D35E4986-0620-405C-A13A-95162C74155A}"/>
          </ac:spMkLst>
        </pc:spChg>
        <pc:spChg chg="add mod ord">
          <ac:chgData name="Ravindran, Vinitha" userId="82ce3cca-7558-454b-843d-12c117c3060e" providerId="ADAL" clId="{B2A3330E-95B9-4AD1-B54B-8ED847DFDE0F}" dt="2020-03-11T19:02:11.683" v="1225" actId="207"/>
          <ac:spMkLst>
            <pc:docMk/>
            <pc:sldMk cId="4132586566" sldId="707"/>
            <ac:spMk id="12" creationId="{D18626AF-D422-418E-9B23-DE0A75B23E95}"/>
          </ac:spMkLst>
        </pc:spChg>
        <pc:spChg chg="del mod topLvl">
          <ac:chgData name="Ravindran, Vinitha" userId="82ce3cca-7558-454b-843d-12c117c3060e" providerId="ADAL" clId="{B2A3330E-95B9-4AD1-B54B-8ED847DFDE0F}" dt="2020-03-11T18:29:32.752" v="491" actId="478"/>
          <ac:spMkLst>
            <pc:docMk/>
            <pc:sldMk cId="4132586566" sldId="707"/>
            <ac:spMk id="12" creationId="{E5DDC7F6-8A4B-4F8C-A568-A606E0558917}"/>
          </ac:spMkLst>
        </pc:spChg>
        <pc:spChg chg="mod">
          <ac:chgData name="Ravindran, Vinitha" userId="82ce3cca-7558-454b-843d-12c117c3060e" providerId="ADAL" clId="{B2A3330E-95B9-4AD1-B54B-8ED847DFDE0F}" dt="2020-03-11T18:32:42.436" v="613" actId="207"/>
          <ac:spMkLst>
            <pc:docMk/>
            <pc:sldMk cId="4132586566" sldId="707"/>
            <ac:spMk id="14" creationId="{B15EA24F-2BFB-4B57-90B8-A5127DC66776}"/>
          </ac:spMkLst>
        </pc:spChg>
        <pc:spChg chg="mod">
          <ac:chgData name="Ravindran, Vinitha" userId="82ce3cca-7558-454b-843d-12c117c3060e" providerId="ADAL" clId="{B2A3330E-95B9-4AD1-B54B-8ED847DFDE0F}" dt="2020-03-11T18:31:57.669" v="606" actId="207"/>
          <ac:spMkLst>
            <pc:docMk/>
            <pc:sldMk cId="4132586566" sldId="707"/>
            <ac:spMk id="15" creationId="{11B4164A-246A-4348-BCAC-BF75CF956572}"/>
          </ac:spMkLst>
        </pc:spChg>
        <pc:spChg chg="add del mod">
          <ac:chgData name="Ravindran, Vinitha" userId="82ce3cca-7558-454b-843d-12c117c3060e" providerId="ADAL" clId="{B2A3330E-95B9-4AD1-B54B-8ED847DFDE0F}" dt="2020-03-11T19:03:26.240" v="1327"/>
          <ac:spMkLst>
            <pc:docMk/>
            <pc:sldMk cId="4132586566" sldId="707"/>
            <ac:spMk id="16" creationId="{8CAD1F5B-74D0-4CCF-81A7-1C58658228C6}"/>
          </ac:spMkLst>
        </pc:spChg>
        <pc:spChg chg="add del mod">
          <ac:chgData name="Ravindran, Vinitha" userId="82ce3cca-7558-454b-843d-12c117c3060e" providerId="ADAL" clId="{B2A3330E-95B9-4AD1-B54B-8ED847DFDE0F}" dt="2020-03-11T18:32:20.073" v="610" actId="478"/>
          <ac:spMkLst>
            <pc:docMk/>
            <pc:sldMk cId="4132586566" sldId="707"/>
            <ac:spMk id="16" creationId="{D1F2B10D-7EB2-412B-82C3-4E17E3E9E9BA}"/>
          </ac:spMkLst>
        </pc:spChg>
        <pc:spChg chg="add mod topLvl">
          <ac:chgData name="Ravindran, Vinitha" userId="82ce3cca-7558-454b-843d-12c117c3060e" providerId="ADAL" clId="{B2A3330E-95B9-4AD1-B54B-8ED847DFDE0F}" dt="2020-03-11T19:10:57.645" v="2029" actId="1036"/>
          <ac:spMkLst>
            <pc:docMk/>
            <pc:sldMk cId="4132586566" sldId="707"/>
            <ac:spMk id="17" creationId="{A4405A10-224D-4BD5-B0B2-4BF6258924BC}"/>
          </ac:spMkLst>
        </pc:spChg>
        <pc:spChg chg="add del mod ord topLvl">
          <ac:chgData name="Ravindran, Vinitha" userId="82ce3cca-7558-454b-843d-12c117c3060e" providerId="ADAL" clId="{B2A3330E-95B9-4AD1-B54B-8ED847DFDE0F}" dt="2020-03-11T18:56:17.691" v="1092" actId="478"/>
          <ac:spMkLst>
            <pc:docMk/>
            <pc:sldMk cId="4132586566" sldId="707"/>
            <ac:spMk id="18" creationId="{196C4BD8-A873-4491-8EEA-5EA5517427FF}"/>
          </ac:spMkLst>
        </pc:spChg>
        <pc:spChg chg="add mod">
          <ac:chgData name="Ravindran, Vinitha" userId="82ce3cca-7558-454b-843d-12c117c3060e" providerId="ADAL" clId="{B2A3330E-95B9-4AD1-B54B-8ED847DFDE0F}" dt="2020-03-11T19:10:57.645" v="2029" actId="1036"/>
          <ac:spMkLst>
            <pc:docMk/>
            <pc:sldMk cId="4132586566" sldId="707"/>
            <ac:spMk id="18" creationId="{CEB26634-995F-4EDB-8718-DC37F95A1E6D}"/>
          </ac:spMkLst>
        </pc:spChg>
        <pc:spChg chg="add del mod">
          <ac:chgData name="Ravindran, Vinitha" userId="82ce3cca-7558-454b-843d-12c117c3060e" providerId="ADAL" clId="{B2A3330E-95B9-4AD1-B54B-8ED847DFDE0F}" dt="2020-03-11T19:03:26.240" v="1327"/>
          <ac:spMkLst>
            <pc:docMk/>
            <pc:sldMk cId="4132586566" sldId="707"/>
            <ac:spMk id="20" creationId="{8EB297D4-4364-4E5B-9481-46C6C646EBEA}"/>
          </ac:spMkLst>
        </pc:spChg>
        <pc:spChg chg="add mod ord">
          <ac:chgData name="Ravindran, Vinitha" userId="82ce3cca-7558-454b-843d-12c117c3060e" providerId="ADAL" clId="{B2A3330E-95B9-4AD1-B54B-8ED847DFDE0F}" dt="2020-03-11T19:03:09.285" v="1305" actId="207"/>
          <ac:spMkLst>
            <pc:docMk/>
            <pc:sldMk cId="4132586566" sldId="707"/>
            <ac:spMk id="21" creationId="{CE0968BB-F9E4-414C-B8F5-E4B935CB667C}"/>
          </ac:spMkLst>
        </pc:spChg>
        <pc:spChg chg="add mod">
          <ac:chgData name="Ravindran, Vinitha" userId="82ce3cca-7558-454b-843d-12c117c3060e" providerId="ADAL" clId="{B2A3330E-95B9-4AD1-B54B-8ED847DFDE0F}" dt="2020-03-11T19:02:56.268" v="1263" actId="207"/>
          <ac:spMkLst>
            <pc:docMk/>
            <pc:sldMk cId="4132586566" sldId="707"/>
            <ac:spMk id="22" creationId="{4D4EB2E6-3F43-42B1-8409-80E2955097C8}"/>
          </ac:spMkLst>
        </pc:spChg>
        <pc:spChg chg="add mod">
          <ac:chgData name="Ravindran, Vinitha" userId="82ce3cca-7558-454b-843d-12c117c3060e" providerId="ADAL" clId="{B2A3330E-95B9-4AD1-B54B-8ED847DFDE0F}" dt="2020-03-11T19:10:57.645" v="2029" actId="1036"/>
          <ac:spMkLst>
            <pc:docMk/>
            <pc:sldMk cId="4132586566" sldId="707"/>
            <ac:spMk id="25" creationId="{02FE2E87-1AC7-4E80-9E54-6E469DD2DF3C}"/>
          </ac:spMkLst>
        </pc:spChg>
        <pc:spChg chg="add mod">
          <ac:chgData name="Ravindran, Vinitha" userId="82ce3cca-7558-454b-843d-12c117c3060e" providerId="ADAL" clId="{B2A3330E-95B9-4AD1-B54B-8ED847DFDE0F}" dt="2020-03-11T19:02:29.096" v="1234" actId="207"/>
          <ac:spMkLst>
            <pc:docMk/>
            <pc:sldMk cId="4132586566" sldId="707"/>
            <ac:spMk id="26" creationId="{AE61B1AE-C15A-4AF4-9137-CE2EFE4A7149}"/>
          </ac:spMkLst>
        </pc:spChg>
        <pc:spChg chg="add mod">
          <ac:chgData name="Ravindran, Vinitha" userId="82ce3cca-7558-454b-843d-12c117c3060e" providerId="ADAL" clId="{B2A3330E-95B9-4AD1-B54B-8ED847DFDE0F}" dt="2020-03-11T19:10:57.645" v="2029" actId="1036"/>
          <ac:spMkLst>
            <pc:docMk/>
            <pc:sldMk cId="4132586566" sldId="707"/>
            <ac:spMk id="37" creationId="{B8BD667D-B506-4A1E-B278-63A66F2AFA2F}"/>
          </ac:spMkLst>
        </pc:spChg>
        <pc:spChg chg="add mod">
          <ac:chgData name="Ravindran, Vinitha" userId="82ce3cca-7558-454b-843d-12c117c3060e" providerId="ADAL" clId="{B2A3330E-95B9-4AD1-B54B-8ED847DFDE0F}" dt="2020-03-11T19:10:57.645" v="2029" actId="1036"/>
          <ac:spMkLst>
            <pc:docMk/>
            <pc:sldMk cId="4132586566" sldId="707"/>
            <ac:spMk id="38" creationId="{C9442C75-47DB-46CC-A2E5-D0C9CD72FEF9}"/>
          </ac:spMkLst>
        </pc:spChg>
        <pc:grpChg chg="add mod">
          <ac:chgData name="Ravindran, Vinitha" userId="82ce3cca-7558-454b-843d-12c117c3060e" providerId="ADAL" clId="{B2A3330E-95B9-4AD1-B54B-8ED847DFDE0F}" dt="2020-03-11T19:06:28.397" v="1605" actId="1035"/>
          <ac:grpSpMkLst>
            <pc:docMk/>
            <pc:sldMk cId="4132586566" sldId="707"/>
            <ac:grpSpMk id="3" creationId="{D600061A-843C-4C21-9323-38EE6FABFBAF}"/>
          </ac:grpSpMkLst>
        </pc:grpChg>
        <pc:grpChg chg="add del mod">
          <ac:chgData name="Ravindran, Vinitha" userId="82ce3cca-7558-454b-843d-12c117c3060e" providerId="ADAL" clId="{B2A3330E-95B9-4AD1-B54B-8ED847DFDE0F}" dt="2020-03-11T18:29:32.752" v="491" actId="478"/>
          <ac:grpSpMkLst>
            <pc:docMk/>
            <pc:sldMk cId="4132586566" sldId="707"/>
            <ac:grpSpMk id="10" creationId="{659AC80E-FFD6-40DC-9552-9584DFECA071}"/>
          </ac:grpSpMkLst>
        </pc:grpChg>
        <pc:grpChg chg="add mod">
          <ac:chgData name="Ravindran, Vinitha" userId="82ce3cca-7558-454b-843d-12c117c3060e" providerId="ADAL" clId="{B2A3330E-95B9-4AD1-B54B-8ED847DFDE0F}" dt="2020-03-11T19:08:30.530" v="1951" actId="14100"/>
          <ac:grpSpMkLst>
            <pc:docMk/>
            <pc:sldMk cId="4132586566" sldId="707"/>
            <ac:grpSpMk id="13" creationId="{623160A7-03A2-4FB7-89A7-8536FFBFB919}"/>
          </ac:grpSpMkLst>
        </pc:grpChg>
        <pc:grpChg chg="add del mod">
          <ac:chgData name="Ravindran, Vinitha" userId="82ce3cca-7558-454b-843d-12c117c3060e" providerId="ADAL" clId="{B2A3330E-95B9-4AD1-B54B-8ED847DFDE0F}" dt="2020-03-11T18:56:17.691" v="1092" actId="478"/>
          <ac:grpSpMkLst>
            <pc:docMk/>
            <pc:sldMk cId="4132586566" sldId="707"/>
            <ac:grpSpMk id="19" creationId="{18E1AC5A-3C43-4EBD-B1F1-DB0D5C70C9B1}"/>
          </ac:grpSpMkLst>
        </pc:grpChg>
        <pc:grpChg chg="add del mod">
          <ac:chgData name="Ravindran, Vinitha" userId="82ce3cca-7558-454b-843d-12c117c3060e" providerId="ADAL" clId="{B2A3330E-95B9-4AD1-B54B-8ED847DFDE0F}" dt="2020-03-11T19:03:26.240" v="1327"/>
          <ac:grpSpMkLst>
            <pc:docMk/>
            <pc:sldMk cId="4132586566" sldId="707"/>
            <ac:grpSpMk id="27" creationId="{D9DCA583-4349-4FE3-BF57-606372486AA0}"/>
          </ac:grpSpMkLst>
        </pc:grpChg>
        <pc:grpChg chg="add del mod">
          <ac:chgData name="Ravindran, Vinitha" userId="82ce3cca-7558-454b-843d-12c117c3060e" providerId="ADAL" clId="{B2A3330E-95B9-4AD1-B54B-8ED847DFDE0F}" dt="2020-03-11T19:03:26.240" v="1327"/>
          <ac:grpSpMkLst>
            <pc:docMk/>
            <pc:sldMk cId="4132586566" sldId="707"/>
            <ac:grpSpMk id="28" creationId="{3B88EEC1-9012-443B-8739-36B681CB293B}"/>
          </ac:grpSpMkLst>
        </pc:grpChg>
        <pc:grpChg chg="add mod">
          <ac:chgData name="Ravindran, Vinitha" userId="82ce3cca-7558-454b-843d-12c117c3060e" providerId="ADAL" clId="{B2A3330E-95B9-4AD1-B54B-8ED847DFDE0F}" dt="2020-03-11T19:10:57.645" v="2029" actId="1036"/>
          <ac:grpSpMkLst>
            <pc:docMk/>
            <pc:sldMk cId="4132586566" sldId="707"/>
            <ac:grpSpMk id="29" creationId="{CC42B5B1-9324-4775-A159-F92CD27A606E}"/>
          </ac:grpSpMkLst>
        </pc:grpChg>
        <pc:grpChg chg="add mod">
          <ac:chgData name="Ravindran, Vinitha" userId="82ce3cca-7558-454b-843d-12c117c3060e" providerId="ADAL" clId="{B2A3330E-95B9-4AD1-B54B-8ED847DFDE0F}" dt="2020-03-11T19:10:57.645" v="2029" actId="1036"/>
          <ac:grpSpMkLst>
            <pc:docMk/>
            <pc:sldMk cId="4132586566" sldId="707"/>
            <ac:grpSpMk id="30" creationId="{D0C3DFD6-904C-4CC1-A21B-E124D475CEC5}"/>
          </ac:grpSpMkLst>
        </pc:grpChg>
        <pc:grpChg chg="add mod">
          <ac:chgData name="Ravindran, Vinitha" userId="82ce3cca-7558-454b-843d-12c117c3060e" providerId="ADAL" clId="{B2A3330E-95B9-4AD1-B54B-8ED847DFDE0F}" dt="2020-03-11T19:10:57.645" v="2029" actId="1036"/>
          <ac:grpSpMkLst>
            <pc:docMk/>
            <pc:sldMk cId="4132586566" sldId="707"/>
            <ac:grpSpMk id="31" creationId="{D3C08C51-A86B-4984-B34D-D602F9033C88}"/>
          </ac:grpSpMkLst>
        </pc:grpChg>
        <pc:grpChg chg="add mod">
          <ac:chgData name="Ravindran, Vinitha" userId="82ce3cca-7558-454b-843d-12c117c3060e" providerId="ADAL" clId="{B2A3330E-95B9-4AD1-B54B-8ED847DFDE0F}" dt="2020-03-11T19:10:57.645" v="2029" actId="1036"/>
          <ac:grpSpMkLst>
            <pc:docMk/>
            <pc:sldMk cId="4132586566" sldId="707"/>
            <ac:grpSpMk id="34" creationId="{D09BA906-B2A5-4837-AAA5-309E5B61F517}"/>
          </ac:grpSpMkLst>
        </pc:grpChg>
        <pc:picChg chg="add del mod">
          <ac:chgData name="Ravindran, Vinitha" userId="82ce3cca-7558-454b-843d-12c117c3060e" providerId="ADAL" clId="{B2A3330E-95B9-4AD1-B54B-8ED847DFDE0F}" dt="2020-03-11T18:32:44.595" v="614" actId="478"/>
          <ac:picMkLst>
            <pc:docMk/>
            <pc:sldMk cId="4132586566" sldId="707"/>
            <ac:picMk id="4" creationId="{095BF6C6-27DF-4EE0-899B-AD7E82CCA02B}"/>
          </ac:picMkLst>
        </pc:picChg>
        <pc:picChg chg="add mod ord">
          <ac:chgData name="Ravindran, Vinitha" userId="82ce3cca-7558-454b-843d-12c117c3060e" providerId="ADAL" clId="{B2A3330E-95B9-4AD1-B54B-8ED847DFDE0F}" dt="2020-03-11T19:03:18.598" v="1326" actId="1036"/>
          <ac:picMkLst>
            <pc:docMk/>
            <pc:sldMk cId="4132586566" sldId="707"/>
            <ac:picMk id="4" creationId="{E9F9B177-7259-449F-98A7-962BC40A96E2}"/>
          </ac:picMkLst>
        </pc:picChg>
        <pc:picChg chg="mod">
          <ac:chgData name="Ravindran, Vinitha" userId="82ce3cca-7558-454b-843d-12c117c3060e" providerId="ADAL" clId="{B2A3330E-95B9-4AD1-B54B-8ED847DFDE0F}" dt="2020-03-11T19:10:34.833" v="2018" actId="1037"/>
          <ac:picMkLst>
            <pc:docMk/>
            <pc:sldMk cId="4132586566" sldId="707"/>
            <ac:picMk id="6" creationId="{1B094808-C341-45B7-99B8-53363972F69D}"/>
          </ac:picMkLst>
        </pc:picChg>
        <pc:picChg chg="add mod">
          <ac:chgData name="Ravindran, Vinitha" userId="82ce3cca-7558-454b-843d-12c117c3060e" providerId="ADAL" clId="{B2A3330E-95B9-4AD1-B54B-8ED847DFDE0F}" dt="2020-03-11T19:03:11.894" v="1319" actId="1038"/>
          <ac:picMkLst>
            <pc:docMk/>
            <pc:sldMk cId="4132586566" sldId="707"/>
            <ac:picMk id="9" creationId="{CA725765-4735-4E95-956B-27BCF8C82684}"/>
          </ac:picMkLst>
        </pc:picChg>
        <pc:picChg chg="add mod ord">
          <ac:chgData name="Ravindran, Vinitha" userId="82ce3cca-7558-454b-843d-12c117c3060e" providerId="ADAL" clId="{B2A3330E-95B9-4AD1-B54B-8ED847DFDE0F}" dt="2020-03-11T19:02:31.950" v="1241" actId="1038"/>
          <ac:picMkLst>
            <pc:docMk/>
            <pc:sldMk cId="4132586566" sldId="707"/>
            <ac:picMk id="10" creationId="{A8533B12-475C-4356-8FD4-75DDE4C768D4}"/>
          </ac:picMkLst>
        </pc:picChg>
        <pc:picChg chg="add mod ord">
          <ac:chgData name="Ravindran, Vinitha" userId="82ce3cca-7558-454b-843d-12c117c3060e" providerId="ADAL" clId="{B2A3330E-95B9-4AD1-B54B-8ED847DFDE0F}" dt="2020-03-11T18:58:30.865" v="1131" actId="164"/>
          <ac:picMkLst>
            <pc:docMk/>
            <pc:sldMk cId="4132586566" sldId="707"/>
            <ac:picMk id="11" creationId="{B54848AF-FD93-4D2D-9D8F-AB34D5239996}"/>
          </ac:picMkLst>
        </pc:picChg>
        <pc:picChg chg="add del mod">
          <ac:chgData name="Ravindran, Vinitha" userId="82ce3cca-7558-454b-843d-12c117c3060e" providerId="ADAL" clId="{B2A3330E-95B9-4AD1-B54B-8ED847DFDE0F}" dt="2020-03-11T18:39:19.408" v="919" actId="478"/>
          <ac:picMkLst>
            <pc:docMk/>
            <pc:sldMk cId="4132586566" sldId="707"/>
            <ac:picMk id="20" creationId="{0A227228-0D4B-4B7E-84A9-DDA6A2FB4F0B}"/>
          </ac:picMkLst>
        </pc:picChg>
        <pc:picChg chg="add del mod">
          <ac:chgData name="Ravindran, Vinitha" userId="82ce3cca-7558-454b-843d-12c117c3060e" providerId="ADAL" clId="{B2A3330E-95B9-4AD1-B54B-8ED847DFDE0F}" dt="2020-03-11T18:55:12.755" v="1066" actId="478"/>
          <ac:picMkLst>
            <pc:docMk/>
            <pc:sldMk cId="4132586566" sldId="707"/>
            <ac:picMk id="23" creationId="{064F9334-9DF9-4051-A732-BF10B3056B06}"/>
          </ac:picMkLst>
        </pc:pic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0BDABB3-BD6F-461E-BFB3-E3A93A9559BF}" type="datetimeFigureOut">
              <a:rPr lang="en-US" smtClean="0"/>
              <a:t>3/11/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2D41B4B-C76E-41DA-B7A2-26010E07C004}" type="slidenum">
              <a:rPr lang="en-US" smtClean="0"/>
              <a:t>‹#›</a:t>
            </a:fld>
            <a:endParaRPr lang="en-US"/>
          </a:p>
        </p:txBody>
      </p:sp>
    </p:spTree>
    <p:extLst>
      <p:ext uri="{BB962C8B-B14F-4D97-AF65-F5344CB8AC3E}">
        <p14:creationId xmlns:p14="http://schemas.microsoft.com/office/powerpoint/2010/main" val="4035580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svg"/><Relationship Id="rId4" Type="http://schemas.openxmlformats.org/officeDocument/2006/relationships/image" Target="../media/image6.png"/></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A0408846-CEE6-4BA1-9B39-446D3027631D}" type="datetimeFigureOut">
              <a:rPr lang="en-US" smtClean="0"/>
              <a:t>3/11/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A5FE886-E6FE-4087-B1D1-35A1476BB77A}" type="slidenum">
              <a:rPr lang="en-US" smtClean="0"/>
              <a:t>‹#›</a:t>
            </a:fld>
            <a:endParaRPr lang="en-US"/>
          </a:p>
        </p:txBody>
      </p:sp>
      <p:sp>
        <p:nvSpPr>
          <p:cNvPr id="7" name="Rectangle 6">
            <a:extLst>
              <a:ext uri="{FF2B5EF4-FFF2-40B4-BE49-F238E27FC236}">
                <a16:creationId xmlns:a16="http://schemas.microsoft.com/office/drawing/2014/main" id="{A40A05AC-163A-4707-8EF8-0C4D927C4978}"/>
              </a:ext>
            </a:extLst>
          </p:cNvPr>
          <p:cNvSpPr/>
          <p:nvPr userDrawn="1"/>
        </p:nvSpPr>
        <p:spPr>
          <a:xfrm>
            <a:off x="400050" y="6812280"/>
            <a:ext cx="11791579" cy="4572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a:t>
            </a:r>
          </a:p>
        </p:txBody>
      </p:sp>
      <p:pic>
        <p:nvPicPr>
          <p:cNvPr id="8" name="Graphic 7" descr="Toothpaste">
            <a:extLst>
              <a:ext uri="{FF2B5EF4-FFF2-40B4-BE49-F238E27FC236}">
                <a16:creationId xmlns:a16="http://schemas.microsoft.com/office/drawing/2014/main" id="{9E0B3438-E7EE-4C27-8301-EBACF9CF51A7}"/>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6219692">
            <a:off x="-34366" y="6005349"/>
            <a:ext cx="598153" cy="598153"/>
          </a:xfrm>
          <a:prstGeom prst="rect">
            <a:avLst/>
          </a:prstGeom>
        </p:spPr>
      </p:pic>
      <p:pic>
        <p:nvPicPr>
          <p:cNvPr id="9" name="Graphic 8" descr="Snake">
            <a:extLst>
              <a:ext uri="{FF2B5EF4-FFF2-40B4-BE49-F238E27FC236}">
                <a16:creationId xmlns:a16="http://schemas.microsoft.com/office/drawing/2014/main" id="{697822BC-689E-4698-A5C4-C54BF22ACA85}"/>
              </a:ext>
            </a:extLst>
          </p:cNvPr>
          <p:cNvPicPr>
            <a:picLocks noChangeAspect="1"/>
          </p:cNvPicPr>
          <p:nvPr userDrawn="1"/>
        </p:nvPicPr>
        <p:blipFill rotWithShape="1">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rcRect l="-2" t="56027" r="47111"/>
          <a:stretch/>
        </p:blipFill>
        <p:spPr>
          <a:xfrm rot="7001259">
            <a:off x="297005" y="6597181"/>
            <a:ext cx="336423" cy="279713"/>
          </a:xfrm>
          <a:prstGeom prst="rect">
            <a:avLst/>
          </a:prstGeom>
        </p:spPr>
      </p:pic>
    </p:spTree>
    <p:extLst>
      <p:ext uri="{BB962C8B-B14F-4D97-AF65-F5344CB8AC3E}">
        <p14:creationId xmlns:p14="http://schemas.microsoft.com/office/powerpoint/2010/main" val="215373167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0408846-CEE6-4BA1-9B39-446D3027631D}" type="datetimeFigureOut">
              <a:rPr lang="en-US" smtClean="0"/>
              <a:t>3/11/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A5FE886-E6FE-4087-B1D1-35A1476BB77A}" type="slidenum">
              <a:rPr lang="en-US" smtClean="0"/>
              <a:t>‹#›</a:t>
            </a:fld>
            <a:endParaRPr lang="en-US"/>
          </a:p>
        </p:txBody>
      </p:sp>
      <p:sp>
        <p:nvSpPr>
          <p:cNvPr id="7" name="Rectangle 6">
            <a:extLst>
              <a:ext uri="{FF2B5EF4-FFF2-40B4-BE49-F238E27FC236}">
                <a16:creationId xmlns:a16="http://schemas.microsoft.com/office/drawing/2014/main" id="{507C0374-EDF8-4E8D-A336-BF31440B51AA}"/>
              </a:ext>
            </a:extLst>
          </p:cNvPr>
          <p:cNvSpPr/>
          <p:nvPr userDrawn="1"/>
        </p:nvSpPr>
        <p:spPr>
          <a:xfrm>
            <a:off x="400050" y="6812280"/>
            <a:ext cx="11791579" cy="4572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a:t>
            </a:r>
          </a:p>
        </p:txBody>
      </p:sp>
      <p:pic>
        <p:nvPicPr>
          <p:cNvPr id="8" name="Graphic 7" descr="Toothpaste">
            <a:extLst>
              <a:ext uri="{FF2B5EF4-FFF2-40B4-BE49-F238E27FC236}">
                <a16:creationId xmlns:a16="http://schemas.microsoft.com/office/drawing/2014/main" id="{CFDDDE50-AA36-40DD-9C9F-CABEB124AEE4}"/>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6219692">
            <a:off x="-34366" y="6005349"/>
            <a:ext cx="598153" cy="598153"/>
          </a:xfrm>
          <a:prstGeom prst="rect">
            <a:avLst/>
          </a:prstGeom>
        </p:spPr>
      </p:pic>
      <p:pic>
        <p:nvPicPr>
          <p:cNvPr id="9" name="Graphic 8" descr="Snake">
            <a:extLst>
              <a:ext uri="{FF2B5EF4-FFF2-40B4-BE49-F238E27FC236}">
                <a16:creationId xmlns:a16="http://schemas.microsoft.com/office/drawing/2014/main" id="{A012E791-88DC-47DF-B53F-A7D4FBAAB665}"/>
              </a:ext>
            </a:extLst>
          </p:cNvPr>
          <p:cNvPicPr>
            <a:picLocks noChangeAspect="1"/>
          </p:cNvPicPr>
          <p:nvPr userDrawn="1"/>
        </p:nvPicPr>
        <p:blipFill rotWithShape="1">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rcRect l="-2" t="56027" r="47111"/>
          <a:stretch/>
        </p:blipFill>
        <p:spPr>
          <a:xfrm rot="7001259">
            <a:off x="297005" y="6597181"/>
            <a:ext cx="336423" cy="279713"/>
          </a:xfrm>
          <a:prstGeom prst="rect">
            <a:avLst/>
          </a:prstGeom>
        </p:spPr>
      </p:pic>
    </p:spTree>
    <p:extLst>
      <p:ext uri="{BB962C8B-B14F-4D97-AF65-F5344CB8AC3E}">
        <p14:creationId xmlns:p14="http://schemas.microsoft.com/office/powerpoint/2010/main" val="242146876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0408846-CEE6-4BA1-9B39-446D3027631D}" type="datetimeFigureOut">
              <a:rPr lang="en-US" smtClean="0"/>
              <a:t>3/11/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A5FE886-E6FE-4087-B1D1-35A1476BB77A}" type="slidenum">
              <a:rPr lang="en-US" smtClean="0"/>
              <a:t>‹#›</a:t>
            </a:fld>
            <a:endParaRPr lang="en-US"/>
          </a:p>
        </p:txBody>
      </p:sp>
    </p:spTree>
    <p:extLst>
      <p:ext uri="{BB962C8B-B14F-4D97-AF65-F5344CB8AC3E}">
        <p14:creationId xmlns:p14="http://schemas.microsoft.com/office/powerpoint/2010/main" val="24316155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7" name="Right Triangle 6">
            <a:extLst>
              <a:ext uri="{FF2B5EF4-FFF2-40B4-BE49-F238E27FC236}">
                <a16:creationId xmlns:a16="http://schemas.microsoft.com/office/drawing/2014/main" id="{7DC52B96-DADB-480C-A05B-358580E7B1E8}"/>
              </a:ext>
            </a:extLst>
          </p:cNvPr>
          <p:cNvSpPr/>
          <p:nvPr userDrawn="1"/>
        </p:nvSpPr>
        <p:spPr>
          <a:xfrm flipH="1">
            <a:off x="4928838" y="0"/>
            <a:ext cx="7263161" cy="6857999"/>
          </a:xfrm>
          <a:prstGeom prst="r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rapezoid 7">
            <a:extLst>
              <a:ext uri="{FF2B5EF4-FFF2-40B4-BE49-F238E27FC236}">
                <a16:creationId xmlns:a16="http://schemas.microsoft.com/office/drawing/2014/main" id="{12812A3D-7AB9-492C-9C35-008A1345A4C2}"/>
              </a:ext>
            </a:extLst>
          </p:cNvPr>
          <p:cNvSpPr/>
          <p:nvPr userDrawn="1"/>
        </p:nvSpPr>
        <p:spPr>
          <a:xfrm>
            <a:off x="3895595" y="0"/>
            <a:ext cx="7891243" cy="6857999"/>
          </a:xfrm>
          <a:prstGeom prst="trapezoid">
            <a:avLst>
              <a:gd name="adj" fmla="val 64309"/>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Isosceles Triangle 8">
            <a:extLst>
              <a:ext uri="{FF2B5EF4-FFF2-40B4-BE49-F238E27FC236}">
                <a16:creationId xmlns:a16="http://schemas.microsoft.com/office/drawing/2014/main" id="{B5468951-FC77-4A17-9C46-D73ED2C1462F}"/>
              </a:ext>
            </a:extLst>
          </p:cNvPr>
          <p:cNvSpPr/>
          <p:nvPr userDrawn="1"/>
        </p:nvSpPr>
        <p:spPr>
          <a:xfrm flipV="1">
            <a:off x="7803715" y="-2"/>
            <a:ext cx="4388283" cy="2865864"/>
          </a:xfrm>
          <a:prstGeom prst="triangle">
            <a:avLst>
              <a:gd name="adj" fmla="val 37959"/>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3" descr="Image result for purdue krannert">
            <a:extLst>
              <a:ext uri="{FF2B5EF4-FFF2-40B4-BE49-F238E27FC236}">
                <a16:creationId xmlns:a16="http://schemas.microsoft.com/office/drawing/2014/main" id="{AAE9BC32-6B55-4E85-840D-AD730721A017}"/>
              </a:ext>
            </a:extLst>
          </p:cNvPr>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0998011" y="6266638"/>
            <a:ext cx="1139559" cy="5715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686953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0408846-CEE6-4BA1-9B39-446D3027631D}" type="datetimeFigureOut">
              <a:rPr lang="en-US" smtClean="0"/>
              <a:t>3/11/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A5FE886-E6FE-4087-B1D1-35A1476BB77A}" type="slidenum">
              <a:rPr lang="en-US" smtClean="0"/>
              <a:t>‹#›</a:t>
            </a:fld>
            <a:endParaRPr lang="en-US"/>
          </a:p>
        </p:txBody>
      </p:sp>
      <p:sp>
        <p:nvSpPr>
          <p:cNvPr id="7" name="Rectangle 6">
            <a:extLst>
              <a:ext uri="{FF2B5EF4-FFF2-40B4-BE49-F238E27FC236}">
                <a16:creationId xmlns:a16="http://schemas.microsoft.com/office/drawing/2014/main" id="{848351F1-8992-4C22-A45D-0CF04CC7377B}"/>
              </a:ext>
            </a:extLst>
          </p:cNvPr>
          <p:cNvSpPr/>
          <p:nvPr userDrawn="1"/>
        </p:nvSpPr>
        <p:spPr>
          <a:xfrm>
            <a:off x="400050" y="6812280"/>
            <a:ext cx="11791579" cy="4572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a:t>
            </a:r>
          </a:p>
        </p:txBody>
      </p:sp>
      <p:pic>
        <p:nvPicPr>
          <p:cNvPr id="8" name="Graphic 7" descr="Toothpaste">
            <a:extLst>
              <a:ext uri="{FF2B5EF4-FFF2-40B4-BE49-F238E27FC236}">
                <a16:creationId xmlns:a16="http://schemas.microsoft.com/office/drawing/2014/main" id="{0A3AD21C-200F-452A-A218-C99C60F38FD0}"/>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6219692">
            <a:off x="-34366" y="6005349"/>
            <a:ext cx="598153" cy="598153"/>
          </a:xfrm>
          <a:prstGeom prst="rect">
            <a:avLst/>
          </a:prstGeom>
        </p:spPr>
      </p:pic>
      <p:pic>
        <p:nvPicPr>
          <p:cNvPr id="9" name="Graphic 8" descr="Snake">
            <a:extLst>
              <a:ext uri="{FF2B5EF4-FFF2-40B4-BE49-F238E27FC236}">
                <a16:creationId xmlns:a16="http://schemas.microsoft.com/office/drawing/2014/main" id="{AF590109-D453-478B-BF26-BBC373C82444}"/>
              </a:ext>
            </a:extLst>
          </p:cNvPr>
          <p:cNvPicPr>
            <a:picLocks noChangeAspect="1"/>
          </p:cNvPicPr>
          <p:nvPr userDrawn="1"/>
        </p:nvPicPr>
        <p:blipFill rotWithShape="1">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rcRect l="-2" t="56027" r="47111"/>
          <a:stretch/>
        </p:blipFill>
        <p:spPr>
          <a:xfrm rot="7001259">
            <a:off x="297005" y="6597181"/>
            <a:ext cx="336423" cy="279713"/>
          </a:xfrm>
          <a:prstGeom prst="rect">
            <a:avLst/>
          </a:prstGeom>
        </p:spPr>
      </p:pic>
    </p:spTree>
    <p:extLst>
      <p:ext uri="{BB962C8B-B14F-4D97-AF65-F5344CB8AC3E}">
        <p14:creationId xmlns:p14="http://schemas.microsoft.com/office/powerpoint/2010/main" val="2798764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A0408846-CEE6-4BA1-9B39-446D3027631D}" type="datetimeFigureOut">
              <a:rPr lang="en-US" smtClean="0"/>
              <a:t>3/11/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A5FE886-E6FE-4087-B1D1-35A1476BB77A}" type="slidenum">
              <a:rPr lang="en-US" smtClean="0"/>
              <a:t>‹#›</a:t>
            </a:fld>
            <a:endParaRPr lang="en-US"/>
          </a:p>
        </p:txBody>
      </p:sp>
      <p:sp>
        <p:nvSpPr>
          <p:cNvPr id="7" name="Rectangle 6">
            <a:extLst>
              <a:ext uri="{FF2B5EF4-FFF2-40B4-BE49-F238E27FC236}">
                <a16:creationId xmlns:a16="http://schemas.microsoft.com/office/drawing/2014/main" id="{B12C980A-0EDB-4D4F-956E-2E045295986F}"/>
              </a:ext>
            </a:extLst>
          </p:cNvPr>
          <p:cNvSpPr/>
          <p:nvPr userDrawn="1"/>
        </p:nvSpPr>
        <p:spPr>
          <a:xfrm>
            <a:off x="400050" y="6812280"/>
            <a:ext cx="11791579" cy="4572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a:t>
            </a:r>
          </a:p>
        </p:txBody>
      </p:sp>
      <p:pic>
        <p:nvPicPr>
          <p:cNvPr id="8" name="Graphic 7" descr="Toothpaste">
            <a:extLst>
              <a:ext uri="{FF2B5EF4-FFF2-40B4-BE49-F238E27FC236}">
                <a16:creationId xmlns:a16="http://schemas.microsoft.com/office/drawing/2014/main" id="{8A13295B-75A6-40B6-BF7C-C22D8D081F1B}"/>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6219692">
            <a:off x="-34366" y="6005349"/>
            <a:ext cx="598153" cy="598153"/>
          </a:xfrm>
          <a:prstGeom prst="rect">
            <a:avLst/>
          </a:prstGeom>
        </p:spPr>
      </p:pic>
      <p:pic>
        <p:nvPicPr>
          <p:cNvPr id="9" name="Graphic 8" descr="Snake">
            <a:extLst>
              <a:ext uri="{FF2B5EF4-FFF2-40B4-BE49-F238E27FC236}">
                <a16:creationId xmlns:a16="http://schemas.microsoft.com/office/drawing/2014/main" id="{236D13D8-7D8F-42DF-BD3D-881967BC2265}"/>
              </a:ext>
            </a:extLst>
          </p:cNvPr>
          <p:cNvPicPr>
            <a:picLocks noChangeAspect="1"/>
          </p:cNvPicPr>
          <p:nvPr userDrawn="1"/>
        </p:nvPicPr>
        <p:blipFill rotWithShape="1">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rcRect l="-2" t="56027" r="47111"/>
          <a:stretch/>
        </p:blipFill>
        <p:spPr>
          <a:xfrm rot="7001259">
            <a:off x="297005" y="6597181"/>
            <a:ext cx="336423" cy="279713"/>
          </a:xfrm>
          <a:prstGeom prst="rect">
            <a:avLst/>
          </a:prstGeom>
        </p:spPr>
      </p:pic>
    </p:spTree>
    <p:extLst>
      <p:ext uri="{BB962C8B-B14F-4D97-AF65-F5344CB8AC3E}">
        <p14:creationId xmlns:p14="http://schemas.microsoft.com/office/powerpoint/2010/main" val="303344255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A0408846-CEE6-4BA1-9B39-446D3027631D}" type="datetimeFigureOut">
              <a:rPr lang="en-US" smtClean="0"/>
              <a:t>3/11/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A5FE886-E6FE-4087-B1D1-35A1476BB77A}" type="slidenum">
              <a:rPr lang="en-US" smtClean="0"/>
              <a:t>‹#›</a:t>
            </a:fld>
            <a:endParaRPr lang="en-US"/>
          </a:p>
        </p:txBody>
      </p:sp>
      <p:sp>
        <p:nvSpPr>
          <p:cNvPr id="8" name="Rectangle 7">
            <a:extLst>
              <a:ext uri="{FF2B5EF4-FFF2-40B4-BE49-F238E27FC236}">
                <a16:creationId xmlns:a16="http://schemas.microsoft.com/office/drawing/2014/main" id="{A3B26D35-CBB3-4185-A443-8B9568F732C9}"/>
              </a:ext>
            </a:extLst>
          </p:cNvPr>
          <p:cNvSpPr/>
          <p:nvPr userDrawn="1"/>
        </p:nvSpPr>
        <p:spPr>
          <a:xfrm>
            <a:off x="400050" y="6812280"/>
            <a:ext cx="11791579" cy="4572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a:t>
            </a:r>
          </a:p>
        </p:txBody>
      </p:sp>
      <p:pic>
        <p:nvPicPr>
          <p:cNvPr id="9" name="Graphic 8" descr="Toothpaste">
            <a:extLst>
              <a:ext uri="{FF2B5EF4-FFF2-40B4-BE49-F238E27FC236}">
                <a16:creationId xmlns:a16="http://schemas.microsoft.com/office/drawing/2014/main" id="{71D73D7B-A3DC-49DA-B309-C0E0DD5E73D1}"/>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6219692">
            <a:off x="-34366" y="6005349"/>
            <a:ext cx="598153" cy="598153"/>
          </a:xfrm>
          <a:prstGeom prst="rect">
            <a:avLst/>
          </a:prstGeom>
        </p:spPr>
      </p:pic>
      <p:pic>
        <p:nvPicPr>
          <p:cNvPr id="10" name="Graphic 9" descr="Snake">
            <a:extLst>
              <a:ext uri="{FF2B5EF4-FFF2-40B4-BE49-F238E27FC236}">
                <a16:creationId xmlns:a16="http://schemas.microsoft.com/office/drawing/2014/main" id="{996FC3F8-7375-4AFD-BCF5-8191F7AB882D}"/>
              </a:ext>
            </a:extLst>
          </p:cNvPr>
          <p:cNvPicPr>
            <a:picLocks noChangeAspect="1"/>
          </p:cNvPicPr>
          <p:nvPr userDrawn="1"/>
        </p:nvPicPr>
        <p:blipFill rotWithShape="1">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rcRect l="-2" t="56027" r="47111"/>
          <a:stretch/>
        </p:blipFill>
        <p:spPr>
          <a:xfrm rot="7001259">
            <a:off x="297005" y="6597181"/>
            <a:ext cx="336423" cy="279713"/>
          </a:xfrm>
          <a:prstGeom prst="rect">
            <a:avLst/>
          </a:prstGeom>
        </p:spPr>
      </p:pic>
    </p:spTree>
    <p:extLst>
      <p:ext uri="{BB962C8B-B14F-4D97-AF65-F5344CB8AC3E}">
        <p14:creationId xmlns:p14="http://schemas.microsoft.com/office/powerpoint/2010/main" val="313070808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A0408846-CEE6-4BA1-9B39-446D3027631D}" type="datetimeFigureOut">
              <a:rPr lang="en-US" smtClean="0"/>
              <a:t>3/11/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A5FE886-E6FE-4087-B1D1-35A1476BB77A}" type="slidenum">
              <a:rPr lang="en-US" smtClean="0"/>
              <a:t>‹#›</a:t>
            </a:fld>
            <a:endParaRPr lang="en-US"/>
          </a:p>
        </p:txBody>
      </p:sp>
      <p:sp>
        <p:nvSpPr>
          <p:cNvPr id="10" name="Rectangle 9">
            <a:extLst>
              <a:ext uri="{FF2B5EF4-FFF2-40B4-BE49-F238E27FC236}">
                <a16:creationId xmlns:a16="http://schemas.microsoft.com/office/drawing/2014/main" id="{937758BF-462D-4CE1-A762-7B3346C3605E}"/>
              </a:ext>
            </a:extLst>
          </p:cNvPr>
          <p:cNvSpPr/>
          <p:nvPr userDrawn="1"/>
        </p:nvSpPr>
        <p:spPr>
          <a:xfrm>
            <a:off x="400050" y="6812280"/>
            <a:ext cx="11791579" cy="4572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a:t>
            </a:r>
          </a:p>
        </p:txBody>
      </p:sp>
      <p:pic>
        <p:nvPicPr>
          <p:cNvPr id="11" name="Graphic 10" descr="Toothpaste">
            <a:extLst>
              <a:ext uri="{FF2B5EF4-FFF2-40B4-BE49-F238E27FC236}">
                <a16:creationId xmlns:a16="http://schemas.microsoft.com/office/drawing/2014/main" id="{D0BFB0D5-583C-4141-A27C-8B521C88F9D9}"/>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6219692">
            <a:off x="-34366" y="6005349"/>
            <a:ext cx="598153" cy="598153"/>
          </a:xfrm>
          <a:prstGeom prst="rect">
            <a:avLst/>
          </a:prstGeom>
        </p:spPr>
      </p:pic>
      <p:pic>
        <p:nvPicPr>
          <p:cNvPr id="12" name="Graphic 11" descr="Snake">
            <a:extLst>
              <a:ext uri="{FF2B5EF4-FFF2-40B4-BE49-F238E27FC236}">
                <a16:creationId xmlns:a16="http://schemas.microsoft.com/office/drawing/2014/main" id="{2E895527-22DA-4170-B3FF-FF343F99C806}"/>
              </a:ext>
            </a:extLst>
          </p:cNvPr>
          <p:cNvPicPr>
            <a:picLocks noChangeAspect="1"/>
          </p:cNvPicPr>
          <p:nvPr userDrawn="1"/>
        </p:nvPicPr>
        <p:blipFill rotWithShape="1">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rcRect l="-2" t="56027" r="47111"/>
          <a:stretch/>
        </p:blipFill>
        <p:spPr>
          <a:xfrm rot="7001259">
            <a:off x="297005" y="6597181"/>
            <a:ext cx="336423" cy="279713"/>
          </a:xfrm>
          <a:prstGeom prst="rect">
            <a:avLst/>
          </a:prstGeom>
        </p:spPr>
      </p:pic>
    </p:spTree>
    <p:extLst>
      <p:ext uri="{BB962C8B-B14F-4D97-AF65-F5344CB8AC3E}">
        <p14:creationId xmlns:p14="http://schemas.microsoft.com/office/powerpoint/2010/main" val="33690542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A0408846-CEE6-4BA1-9B39-446D3027631D}" type="datetimeFigureOut">
              <a:rPr lang="en-US" smtClean="0"/>
              <a:t>3/11/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A5FE886-E6FE-4087-B1D1-35A1476BB77A}" type="slidenum">
              <a:rPr lang="en-US" smtClean="0"/>
              <a:t>‹#›</a:t>
            </a:fld>
            <a:endParaRPr lang="en-US"/>
          </a:p>
        </p:txBody>
      </p:sp>
      <p:sp>
        <p:nvSpPr>
          <p:cNvPr id="6" name="Rectangle 5">
            <a:extLst>
              <a:ext uri="{FF2B5EF4-FFF2-40B4-BE49-F238E27FC236}">
                <a16:creationId xmlns:a16="http://schemas.microsoft.com/office/drawing/2014/main" id="{7F895710-AB8D-4526-B833-BFAB4B9A1F1D}"/>
              </a:ext>
            </a:extLst>
          </p:cNvPr>
          <p:cNvSpPr/>
          <p:nvPr userDrawn="1"/>
        </p:nvSpPr>
        <p:spPr>
          <a:xfrm>
            <a:off x="400050" y="6812280"/>
            <a:ext cx="11791579" cy="4572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a:t>
            </a:r>
          </a:p>
        </p:txBody>
      </p:sp>
      <p:pic>
        <p:nvPicPr>
          <p:cNvPr id="7" name="Graphic 6" descr="Toothpaste">
            <a:extLst>
              <a:ext uri="{FF2B5EF4-FFF2-40B4-BE49-F238E27FC236}">
                <a16:creationId xmlns:a16="http://schemas.microsoft.com/office/drawing/2014/main" id="{1309BA6C-7AB6-4CB2-BEC3-1BBF9236A2D6}"/>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6219692">
            <a:off x="-34366" y="6005349"/>
            <a:ext cx="598153" cy="598153"/>
          </a:xfrm>
          <a:prstGeom prst="rect">
            <a:avLst/>
          </a:prstGeom>
        </p:spPr>
      </p:pic>
      <p:pic>
        <p:nvPicPr>
          <p:cNvPr id="8" name="Graphic 7" descr="Snake">
            <a:extLst>
              <a:ext uri="{FF2B5EF4-FFF2-40B4-BE49-F238E27FC236}">
                <a16:creationId xmlns:a16="http://schemas.microsoft.com/office/drawing/2014/main" id="{5C435FA5-B371-4A63-B872-88266C4C85E9}"/>
              </a:ext>
            </a:extLst>
          </p:cNvPr>
          <p:cNvPicPr>
            <a:picLocks noChangeAspect="1"/>
          </p:cNvPicPr>
          <p:nvPr userDrawn="1"/>
        </p:nvPicPr>
        <p:blipFill rotWithShape="1">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rcRect l="-2" t="56027" r="47111"/>
          <a:stretch/>
        </p:blipFill>
        <p:spPr>
          <a:xfrm rot="7001259">
            <a:off x="297005" y="6597181"/>
            <a:ext cx="336423" cy="279713"/>
          </a:xfrm>
          <a:prstGeom prst="rect">
            <a:avLst/>
          </a:prstGeom>
        </p:spPr>
      </p:pic>
    </p:spTree>
    <p:extLst>
      <p:ext uri="{BB962C8B-B14F-4D97-AF65-F5344CB8AC3E}">
        <p14:creationId xmlns:p14="http://schemas.microsoft.com/office/powerpoint/2010/main" val="19424574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0408846-CEE6-4BA1-9B39-446D3027631D}" type="datetimeFigureOut">
              <a:rPr lang="en-US" smtClean="0"/>
              <a:t>3/11/20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A5FE886-E6FE-4087-B1D1-35A1476BB77A}" type="slidenum">
              <a:rPr lang="en-US" smtClean="0"/>
              <a:t>‹#›</a:t>
            </a:fld>
            <a:endParaRPr lang="en-US"/>
          </a:p>
        </p:txBody>
      </p:sp>
      <p:sp>
        <p:nvSpPr>
          <p:cNvPr id="5" name="Rectangle 4">
            <a:extLst>
              <a:ext uri="{FF2B5EF4-FFF2-40B4-BE49-F238E27FC236}">
                <a16:creationId xmlns:a16="http://schemas.microsoft.com/office/drawing/2014/main" id="{9700DE57-83E3-47D9-85AA-0F814C93C226}"/>
              </a:ext>
            </a:extLst>
          </p:cNvPr>
          <p:cNvSpPr/>
          <p:nvPr userDrawn="1"/>
        </p:nvSpPr>
        <p:spPr>
          <a:xfrm>
            <a:off x="400050" y="6812280"/>
            <a:ext cx="11791579" cy="4572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a:t>
            </a:r>
          </a:p>
        </p:txBody>
      </p:sp>
      <p:pic>
        <p:nvPicPr>
          <p:cNvPr id="6" name="Graphic 5" descr="Toothpaste">
            <a:extLst>
              <a:ext uri="{FF2B5EF4-FFF2-40B4-BE49-F238E27FC236}">
                <a16:creationId xmlns:a16="http://schemas.microsoft.com/office/drawing/2014/main" id="{F6631252-A369-45AD-9C6A-189C95AE58DB}"/>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6219692">
            <a:off x="-34366" y="6005349"/>
            <a:ext cx="598153" cy="598153"/>
          </a:xfrm>
          <a:prstGeom prst="rect">
            <a:avLst/>
          </a:prstGeom>
        </p:spPr>
      </p:pic>
      <p:pic>
        <p:nvPicPr>
          <p:cNvPr id="7" name="Graphic 6" descr="Snake">
            <a:extLst>
              <a:ext uri="{FF2B5EF4-FFF2-40B4-BE49-F238E27FC236}">
                <a16:creationId xmlns:a16="http://schemas.microsoft.com/office/drawing/2014/main" id="{7F8ED80F-5DBA-4F3E-8488-E55696739503}"/>
              </a:ext>
            </a:extLst>
          </p:cNvPr>
          <p:cNvPicPr>
            <a:picLocks noChangeAspect="1"/>
          </p:cNvPicPr>
          <p:nvPr userDrawn="1"/>
        </p:nvPicPr>
        <p:blipFill rotWithShape="1">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rcRect l="-2" t="56027" r="47111"/>
          <a:stretch/>
        </p:blipFill>
        <p:spPr>
          <a:xfrm rot="7001259">
            <a:off x="297005" y="6597181"/>
            <a:ext cx="336423" cy="279713"/>
          </a:xfrm>
          <a:prstGeom prst="rect">
            <a:avLst/>
          </a:prstGeom>
        </p:spPr>
      </p:pic>
    </p:spTree>
    <p:extLst>
      <p:ext uri="{BB962C8B-B14F-4D97-AF65-F5344CB8AC3E}">
        <p14:creationId xmlns:p14="http://schemas.microsoft.com/office/powerpoint/2010/main" val="32985259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A0408846-CEE6-4BA1-9B39-446D3027631D}" type="datetimeFigureOut">
              <a:rPr lang="en-US" smtClean="0"/>
              <a:t>3/11/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A5FE886-E6FE-4087-B1D1-35A1476BB77A}" type="slidenum">
              <a:rPr lang="en-US" smtClean="0"/>
              <a:t>‹#›</a:t>
            </a:fld>
            <a:endParaRPr lang="en-US"/>
          </a:p>
        </p:txBody>
      </p:sp>
      <p:sp>
        <p:nvSpPr>
          <p:cNvPr id="8" name="Rectangle 7">
            <a:extLst>
              <a:ext uri="{FF2B5EF4-FFF2-40B4-BE49-F238E27FC236}">
                <a16:creationId xmlns:a16="http://schemas.microsoft.com/office/drawing/2014/main" id="{FE8BF6A0-229F-4392-AAC1-73377B138BDA}"/>
              </a:ext>
            </a:extLst>
          </p:cNvPr>
          <p:cNvSpPr/>
          <p:nvPr userDrawn="1"/>
        </p:nvSpPr>
        <p:spPr>
          <a:xfrm>
            <a:off x="400050" y="6812280"/>
            <a:ext cx="11791579" cy="4572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a:t>
            </a:r>
          </a:p>
        </p:txBody>
      </p:sp>
      <p:pic>
        <p:nvPicPr>
          <p:cNvPr id="9" name="Graphic 8" descr="Toothpaste">
            <a:extLst>
              <a:ext uri="{FF2B5EF4-FFF2-40B4-BE49-F238E27FC236}">
                <a16:creationId xmlns:a16="http://schemas.microsoft.com/office/drawing/2014/main" id="{C627ECA5-F13E-4285-9C1A-38553035459F}"/>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6219692">
            <a:off x="-34366" y="6005349"/>
            <a:ext cx="598153" cy="598153"/>
          </a:xfrm>
          <a:prstGeom prst="rect">
            <a:avLst/>
          </a:prstGeom>
        </p:spPr>
      </p:pic>
      <p:pic>
        <p:nvPicPr>
          <p:cNvPr id="10" name="Graphic 9" descr="Snake">
            <a:extLst>
              <a:ext uri="{FF2B5EF4-FFF2-40B4-BE49-F238E27FC236}">
                <a16:creationId xmlns:a16="http://schemas.microsoft.com/office/drawing/2014/main" id="{99D0F355-A2E2-4E7E-83BF-EE5B0A7C780D}"/>
              </a:ext>
            </a:extLst>
          </p:cNvPr>
          <p:cNvPicPr>
            <a:picLocks noChangeAspect="1"/>
          </p:cNvPicPr>
          <p:nvPr userDrawn="1"/>
        </p:nvPicPr>
        <p:blipFill rotWithShape="1">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rcRect l="-2" t="56027" r="47111"/>
          <a:stretch/>
        </p:blipFill>
        <p:spPr>
          <a:xfrm rot="7001259">
            <a:off x="297005" y="6597181"/>
            <a:ext cx="336423" cy="279713"/>
          </a:xfrm>
          <a:prstGeom prst="rect">
            <a:avLst/>
          </a:prstGeom>
        </p:spPr>
      </p:pic>
    </p:spTree>
    <p:extLst>
      <p:ext uri="{BB962C8B-B14F-4D97-AF65-F5344CB8AC3E}">
        <p14:creationId xmlns:p14="http://schemas.microsoft.com/office/powerpoint/2010/main" val="217268458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A0408846-CEE6-4BA1-9B39-446D3027631D}" type="datetimeFigureOut">
              <a:rPr lang="en-US" smtClean="0"/>
              <a:t>3/11/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A5FE886-E6FE-4087-B1D1-35A1476BB77A}" type="slidenum">
              <a:rPr lang="en-US" smtClean="0"/>
              <a:t>‹#›</a:t>
            </a:fld>
            <a:endParaRPr lang="en-US"/>
          </a:p>
        </p:txBody>
      </p:sp>
      <p:sp>
        <p:nvSpPr>
          <p:cNvPr id="8" name="Rectangle 7">
            <a:extLst>
              <a:ext uri="{FF2B5EF4-FFF2-40B4-BE49-F238E27FC236}">
                <a16:creationId xmlns:a16="http://schemas.microsoft.com/office/drawing/2014/main" id="{3672E79B-F1D3-43EC-A078-9219976CBDCA}"/>
              </a:ext>
            </a:extLst>
          </p:cNvPr>
          <p:cNvSpPr/>
          <p:nvPr userDrawn="1"/>
        </p:nvSpPr>
        <p:spPr>
          <a:xfrm>
            <a:off x="400050" y="6812280"/>
            <a:ext cx="11791579" cy="4572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a:t>
            </a:r>
          </a:p>
        </p:txBody>
      </p:sp>
      <p:pic>
        <p:nvPicPr>
          <p:cNvPr id="9" name="Graphic 8" descr="Toothpaste">
            <a:extLst>
              <a:ext uri="{FF2B5EF4-FFF2-40B4-BE49-F238E27FC236}">
                <a16:creationId xmlns:a16="http://schemas.microsoft.com/office/drawing/2014/main" id="{E80E6AB3-F7B2-4B80-95D2-BD7760207CA1}"/>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6219692">
            <a:off x="-34366" y="6005349"/>
            <a:ext cx="598153" cy="598153"/>
          </a:xfrm>
          <a:prstGeom prst="rect">
            <a:avLst/>
          </a:prstGeom>
        </p:spPr>
      </p:pic>
      <p:pic>
        <p:nvPicPr>
          <p:cNvPr id="10" name="Graphic 9" descr="Snake">
            <a:extLst>
              <a:ext uri="{FF2B5EF4-FFF2-40B4-BE49-F238E27FC236}">
                <a16:creationId xmlns:a16="http://schemas.microsoft.com/office/drawing/2014/main" id="{14E28490-E532-421E-BD05-0C9405AC8FD4}"/>
              </a:ext>
            </a:extLst>
          </p:cNvPr>
          <p:cNvPicPr>
            <a:picLocks noChangeAspect="1"/>
          </p:cNvPicPr>
          <p:nvPr userDrawn="1"/>
        </p:nvPicPr>
        <p:blipFill rotWithShape="1">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rcRect l="-2" t="56027" r="47111"/>
          <a:stretch/>
        </p:blipFill>
        <p:spPr>
          <a:xfrm rot="7001259">
            <a:off x="297005" y="6597181"/>
            <a:ext cx="336423" cy="279713"/>
          </a:xfrm>
          <a:prstGeom prst="rect">
            <a:avLst/>
          </a:prstGeom>
        </p:spPr>
      </p:pic>
    </p:spTree>
    <p:extLst>
      <p:ext uri="{BB962C8B-B14F-4D97-AF65-F5344CB8AC3E}">
        <p14:creationId xmlns:p14="http://schemas.microsoft.com/office/powerpoint/2010/main" val="4974272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3.xml"/><Relationship Id="rId20" Type="http://schemas.openxmlformats.org/officeDocument/2006/relationships/image" Target="../media/image3.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46E12547-9487-4574-81D4-3D9A889FB252}"/>
              </a:ext>
            </a:extLst>
          </p:cNvPr>
          <p:cNvGraphicFramePr>
            <a:graphicFrameLocks noChangeAspect="1"/>
          </p:cNvGraphicFramePr>
          <p:nvPr userDrawn="1">
            <p:custDataLst>
              <p:tags r:id="rId15"/>
            </p:custDataLst>
            <p:extLst>
              <p:ext uri="{D42A27DB-BD31-4B8C-83A1-F6EECF244321}">
                <p14:modId xmlns:p14="http://schemas.microsoft.com/office/powerpoint/2010/main" val="32641512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17" imgW="416" imgH="416" progId="TCLayout.ActiveDocument.1">
                  <p:embed/>
                </p:oleObj>
              </mc:Choice>
              <mc:Fallback>
                <p:oleObj name="think-cell Slide" r:id="rId17" imgW="416" imgH="416" progId="TCLayout.ActiveDocument.1">
                  <p:embed/>
                  <p:pic>
                    <p:nvPicPr>
                      <p:cNvPr id="10" name="Object 9" hidden="1">
                        <a:extLst>
                          <a:ext uri="{FF2B5EF4-FFF2-40B4-BE49-F238E27FC236}">
                            <a16:creationId xmlns:a16="http://schemas.microsoft.com/office/drawing/2014/main" id="{46E12547-9487-4574-81D4-3D9A889FB252}"/>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A8C56AC4-7C03-467C-8F70-5B24EBDE2792}"/>
              </a:ext>
            </a:extLst>
          </p:cNvPr>
          <p:cNvSpPr/>
          <p:nvPr userDrawn="1">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Calibri Light" panose="020F0302020204030204" pitchFamily="34" charset="0"/>
              <a:ea typeface="+mj-ea"/>
              <a:cs typeface="+mj-cs"/>
              <a:sym typeface="Calibri Light" panose="020F0302020204030204" pitchFamily="34" charset="0"/>
            </a:endParaRPr>
          </a:p>
        </p:txBody>
      </p:sp>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0408846-CEE6-4BA1-9B39-446D3027631D}" type="datetimeFigureOut">
              <a:rPr lang="en-US" smtClean="0"/>
              <a:t>3/11/2020</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A5FE886-E6FE-4087-B1D1-35A1476BB77A}" type="slidenum">
              <a:rPr lang="en-US" smtClean="0"/>
              <a:t>‹#›</a:t>
            </a:fld>
            <a:endParaRPr lang="en-US"/>
          </a:p>
        </p:txBody>
      </p:sp>
      <p:pic>
        <p:nvPicPr>
          <p:cNvPr id="7" name="Picture 3" descr="Image result for purdue krannert">
            <a:extLst>
              <a:ext uri="{FF2B5EF4-FFF2-40B4-BE49-F238E27FC236}">
                <a16:creationId xmlns:a16="http://schemas.microsoft.com/office/drawing/2014/main" id="{BD7BD67A-0A58-4350-8C60-5A04B1761A8C}"/>
              </a:ext>
            </a:extLst>
          </p:cNvPr>
          <p:cNvPicPr>
            <a:picLocks noChangeAspect="1" noChangeArrowheads="1"/>
          </p:cNvPicPr>
          <p:nvPr userDrawn="1"/>
        </p:nvPicPr>
        <p:blipFill>
          <a:blip r:embed="rId19" cstate="hqprint">
            <a:extLst>
              <a:ext uri="{28A0092B-C50C-407E-A947-70E740481C1C}">
                <a14:useLocalDpi xmlns:a14="http://schemas.microsoft.com/office/drawing/2010/main" val="0"/>
              </a:ext>
            </a:extLst>
          </a:blip>
          <a:srcRect/>
          <a:stretch>
            <a:fillRect/>
          </a:stretch>
        </p:blipFill>
        <p:spPr bwMode="auto">
          <a:xfrm>
            <a:off x="10998011" y="6266638"/>
            <a:ext cx="1139559" cy="57155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4" descr="Image result for colgate palmolive">
            <a:extLst>
              <a:ext uri="{FF2B5EF4-FFF2-40B4-BE49-F238E27FC236}">
                <a16:creationId xmlns:a16="http://schemas.microsoft.com/office/drawing/2014/main" id="{561C46F3-319D-4FF5-9395-0D8750FEA48B}"/>
              </a:ext>
            </a:extLst>
          </p:cNvPr>
          <p:cNvPicPr>
            <a:picLocks noChangeAspect="1" noChangeArrowheads="1"/>
          </p:cNvPicPr>
          <p:nvPr userDrawn="1"/>
        </p:nvPicPr>
        <p:blipFill>
          <a:blip r:embed="rId20" cstate="hq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779002" y="6161315"/>
            <a:ext cx="1283713" cy="7408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4916516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4.png"/><Relationship Id="rId7"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12.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5.svg"/></Relationships>
</file>

<file path=ppt/slides/_rels/slide10.xml.rels><?xml version="1.0" encoding="UTF-8" standalone="yes"?>
<Relationships xmlns="http://schemas.openxmlformats.org/package/2006/relationships"><Relationship Id="rId3" Type="http://schemas.openxmlformats.org/officeDocument/2006/relationships/image" Target="../media/image34.png"/><Relationship Id="rId7" Type="http://schemas.openxmlformats.org/officeDocument/2006/relationships/image" Target="../media/image7.svg"/><Relationship Id="rId2" Type="http://schemas.openxmlformats.org/officeDocument/2006/relationships/image" Target="../media/image330.png"/><Relationship Id="rId1" Type="http://schemas.openxmlformats.org/officeDocument/2006/relationships/slideLayout" Target="../slideLayouts/slideLayout12.xml"/><Relationship Id="rId6" Type="http://schemas.openxmlformats.org/officeDocument/2006/relationships/image" Target="../media/image6.png"/><Relationship Id="rId5" Type="http://schemas.openxmlformats.org/officeDocument/2006/relationships/image" Target="../media/image5.svg"/><Relationship Id="rId4" Type="http://schemas.openxmlformats.org/officeDocument/2006/relationships/image" Target="../media/image4.png"/></Relationships>
</file>

<file path=ppt/slides/_rels/slide11.xml.rels><?xml version="1.0" encoding="UTF-8" standalone="yes"?>
<Relationships xmlns="http://schemas.openxmlformats.org/package/2006/relationships"><Relationship Id="rId3" Type="http://schemas.openxmlformats.org/officeDocument/2006/relationships/image" Target="../media/image320.png"/><Relationship Id="rId7" Type="http://schemas.openxmlformats.org/officeDocument/2006/relationships/image" Target="../media/image7.svg"/><Relationship Id="rId2" Type="http://schemas.openxmlformats.org/officeDocument/2006/relationships/image" Target="../media/image330.png"/><Relationship Id="rId1" Type="http://schemas.openxmlformats.org/officeDocument/2006/relationships/slideLayout" Target="../slideLayouts/slideLayout12.xml"/><Relationship Id="rId6" Type="http://schemas.openxmlformats.org/officeDocument/2006/relationships/image" Target="../media/image6.png"/><Relationship Id="rId5" Type="http://schemas.openxmlformats.org/officeDocument/2006/relationships/image" Target="../media/image5.svg"/><Relationship Id="rId4" Type="http://schemas.openxmlformats.org/officeDocument/2006/relationships/image" Target="../media/image4.png"/></Relationships>
</file>

<file path=ppt/slides/_rels/slide12.xml.rels><?xml version="1.0" encoding="UTF-8" standalone="yes"?>
<Relationships xmlns="http://schemas.openxmlformats.org/package/2006/relationships"><Relationship Id="rId3" Type="http://schemas.openxmlformats.org/officeDocument/2006/relationships/image" Target="../media/image35.png"/><Relationship Id="rId7" Type="http://schemas.openxmlformats.org/officeDocument/2006/relationships/image" Target="../media/image7.svg"/><Relationship Id="rId2" Type="http://schemas.openxmlformats.org/officeDocument/2006/relationships/image" Target="../media/image330.png"/><Relationship Id="rId1" Type="http://schemas.openxmlformats.org/officeDocument/2006/relationships/slideLayout" Target="../slideLayouts/slideLayout12.xml"/><Relationship Id="rId6" Type="http://schemas.openxmlformats.org/officeDocument/2006/relationships/image" Target="../media/image6.png"/><Relationship Id="rId5" Type="http://schemas.openxmlformats.org/officeDocument/2006/relationships/image" Target="../media/image5.svg"/><Relationship Id="rId4" Type="http://schemas.openxmlformats.org/officeDocument/2006/relationships/image" Target="../media/image4.png"/></Relationships>
</file>

<file path=ppt/slides/_rels/slide13.xml.rels><?xml version="1.0" encoding="UTF-8" standalone="yes"?>
<Relationships xmlns="http://schemas.openxmlformats.org/package/2006/relationships"><Relationship Id="rId3" Type="http://schemas.openxmlformats.org/officeDocument/2006/relationships/image" Target="../media/image36.png"/><Relationship Id="rId7" Type="http://schemas.openxmlformats.org/officeDocument/2006/relationships/image" Target="../media/image7.svg"/><Relationship Id="rId2" Type="http://schemas.openxmlformats.org/officeDocument/2006/relationships/image" Target="../media/image330.png"/><Relationship Id="rId1" Type="http://schemas.openxmlformats.org/officeDocument/2006/relationships/slideLayout" Target="../slideLayouts/slideLayout12.xml"/><Relationship Id="rId6" Type="http://schemas.openxmlformats.org/officeDocument/2006/relationships/image" Target="../media/image6.png"/><Relationship Id="rId5" Type="http://schemas.openxmlformats.org/officeDocument/2006/relationships/image" Target="../media/image5.svg"/><Relationship Id="rId4" Type="http://schemas.openxmlformats.org/officeDocument/2006/relationships/image" Target="../media/image4.png"/></Relationships>
</file>

<file path=ppt/slides/_rels/slide14.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7.svg"/><Relationship Id="rId2" Type="http://schemas.openxmlformats.org/officeDocument/2006/relationships/image" Target="../media/image330.png"/><Relationship Id="rId1" Type="http://schemas.openxmlformats.org/officeDocument/2006/relationships/slideLayout" Target="../slideLayouts/slideLayout12.xml"/><Relationship Id="rId6" Type="http://schemas.openxmlformats.org/officeDocument/2006/relationships/image" Target="../media/image6.png"/><Relationship Id="rId5" Type="http://schemas.openxmlformats.org/officeDocument/2006/relationships/image" Target="../media/image5.svg"/><Relationship Id="rId4" Type="http://schemas.openxmlformats.org/officeDocument/2006/relationships/image" Target="../media/image4.png"/></Relationships>
</file>

<file path=ppt/slides/_rels/slide15.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12.xml"/><Relationship Id="rId7" Type="http://schemas.openxmlformats.org/officeDocument/2006/relationships/image" Target="../media/image5.sv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4.png"/><Relationship Id="rId5" Type="http://schemas.openxmlformats.org/officeDocument/2006/relationships/image" Target="../media/image34.emf"/><Relationship Id="rId10" Type="http://schemas.openxmlformats.org/officeDocument/2006/relationships/image" Target="../media/image38.PNG"/><Relationship Id="rId4" Type="http://schemas.openxmlformats.org/officeDocument/2006/relationships/oleObject" Target="../embeddings/oleObject2.bin"/><Relationship Id="rId9" Type="http://schemas.openxmlformats.org/officeDocument/2006/relationships/image" Target="../media/image7.svg"/></Relationships>
</file>

<file path=ppt/slides/_rels/slide16.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12.xml"/><Relationship Id="rId7" Type="http://schemas.openxmlformats.org/officeDocument/2006/relationships/image" Target="../media/image5.sv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4.png"/><Relationship Id="rId5" Type="http://schemas.openxmlformats.org/officeDocument/2006/relationships/image" Target="../media/image34.emf"/><Relationship Id="rId10" Type="http://schemas.openxmlformats.org/officeDocument/2006/relationships/image" Target="../media/image39.PNG"/><Relationship Id="rId4" Type="http://schemas.openxmlformats.org/officeDocument/2006/relationships/oleObject" Target="../embeddings/oleObject3.bin"/><Relationship Id="rId9" Type="http://schemas.openxmlformats.org/officeDocument/2006/relationships/image" Target="../media/image7.svg"/></Relationships>
</file>

<file path=ppt/slides/_rels/slide1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Layout" Target="../slideLayouts/slideLayout12.xml"/><Relationship Id="rId5" Type="http://schemas.openxmlformats.org/officeDocument/2006/relationships/image" Target="../media/image7.svg"/><Relationship Id="rId4" Type="http://schemas.openxmlformats.org/officeDocument/2006/relationships/image" Target="../media/image6.png"/></Relationships>
</file>

<file path=ppt/slides/_rels/slide18.xml.rels><?xml version="1.0" encoding="UTF-8" standalone="yes"?>
<Relationships xmlns="http://schemas.openxmlformats.org/package/2006/relationships"><Relationship Id="rId8" Type="http://schemas.openxmlformats.org/officeDocument/2006/relationships/image" Target="../media/image5.svg"/><Relationship Id="rId3" Type="http://schemas.openxmlformats.org/officeDocument/2006/relationships/tags" Target="../tags/tag7.xml"/><Relationship Id="rId7" Type="http://schemas.openxmlformats.org/officeDocument/2006/relationships/image" Target="../media/image4.png"/><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34.emf"/><Relationship Id="rId11" Type="http://schemas.openxmlformats.org/officeDocument/2006/relationships/image" Target="../media/image40.png"/><Relationship Id="rId5" Type="http://schemas.openxmlformats.org/officeDocument/2006/relationships/oleObject" Target="../embeddings/oleObject4.bin"/><Relationship Id="rId10" Type="http://schemas.openxmlformats.org/officeDocument/2006/relationships/image" Target="../media/image7.svg"/><Relationship Id="rId4" Type="http://schemas.openxmlformats.org/officeDocument/2006/relationships/slideLayout" Target="../slideLayouts/slideLayout12.xml"/><Relationship Id="rId9" Type="http://schemas.openxmlformats.org/officeDocument/2006/relationships/image" Target="../media/image6.png"/></Relationships>
</file>

<file path=ppt/slides/_rels/slide19.xml.rels><?xml version="1.0" encoding="UTF-8" standalone="yes"?>
<Relationships xmlns="http://schemas.openxmlformats.org/package/2006/relationships"><Relationship Id="rId8" Type="http://schemas.openxmlformats.org/officeDocument/2006/relationships/image" Target="../media/image5.svg"/><Relationship Id="rId3" Type="http://schemas.openxmlformats.org/officeDocument/2006/relationships/slideLayout" Target="../slideLayouts/slideLayout12.xml"/><Relationship Id="rId7" Type="http://schemas.openxmlformats.org/officeDocument/2006/relationships/image" Target="../media/image4.png"/><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41.png"/><Relationship Id="rId5" Type="http://schemas.openxmlformats.org/officeDocument/2006/relationships/image" Target="../media/image34.emf"/><Relationship Id="rId10" Type="http://schemas.openxmlformats.org/officeDocument/2006/relationships/image" Target="../media/image7.svg"/><Relationship Id="rId4" Type="http://schemas.openxmlformats.org/officeDocument/2006/relationships/oleObject" Target="../embeddings/oleObject5.bin"/><Relationship Id="rId9" Type="http://schemas.openxmlformats.org/officeDocument/2006/relationships/image" Target="../media/image6.png"/></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Layout" Target="../slideLayouts/slideLayout12.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5.svg"/></Relationships>
</file>

<file path=ppt/slides/_rels/slide20.xml.rels><?xml version="1.0" encoding="UTF-8" standalone="yes"?>
<Relationships xmlns="http://schemas.openxmlformats.org/package/2006/relationships"><Relationship Id="rId8" Type="http://schemas.openxmlformats.org/officeDocument/2006/relationships/image" Target="../media/image5.svg"/><Relationship Id="rId3" Type="http://schemas.openxmlformats.org/officeDocument/2006/relationships/tags" Target="../tags/tag10.xml"/><Relationship Id="rId7" Type="http://schemas.openxmlformats.org/officeDocument/2006/relationships/image" Target="../media/image4.png"/><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image" Target="../media/image34.emf"/><Relationship Id="rId11" Type="http://schemas.openxmlformats.org/officeDocument/2006/relationships/image" Target="../media/image42.png"/><Relationship Id="rId5" Type="http://schemas.openxmlformats.org/officeDocument/2006/relationships/oleObject" Target="../embeddings/oleObject6.bin"/><Relationship Id="rId10" Type="http://schemas.openxmlformats.org/officeDocument/2006/relationships/image" Target="../media/image7.svg"/><Relationship Id="rId4" Type="http://schemas.openxmlformats.org/officeDocument/2006/relationships/slideLayout" Target="../slideLayouts/slideLayout12.xml"/><Relationship Id="rId9" Type="http://schemas.openxmlformats.org/officeDocument/2006/relationships/image" Target="../media/image6.png"/></Relationships>
</file>

<file path=ppt/slides/_rels/slide21.xml.rels><?xml version="1.0" encoding="UTF-8" standalone="yes"?>
<Relationships xmlns="http://schemas.openxmlformats.org/package/2006/relationships"><Relationship Id="rId8" Type="http://schemas.openxmlformats.org/officeDocument/2006/relationships/image" Target="../media/image5.svg"/><Relationship Id="rId3" Type="http://schemas.openxmlformats.org/officeDocument/2006/relationships/tags" Target="../tags/tag12.xml"/><Relationship Id="rId7" Type="http://schemas.openxmlformats.org/officeDocument/2006/relationships/image" Target="../media/image4.png"/><Relationship Id="rId2" Type="http://schemas.openxmlformats.org/officeDocument/2006/relationships/tags" Target="../tags/tag11.xml"/><Relationship Id="rId1" Type="http://schemas.openxmlformats.org/officeDocument/2006/relationships/vmlDrawing" Target="../drawings/vmlDrawing7.vml"/><Relationship Id="rId6" Type="http://schemas.openxmlformats.org/officeDocument/2006/relationships/image" Target="../media/image34.emf"/><Relationship Id="rId11" Type="http://schemas.openxmlformats.org/officeDocument/2006/relationships/image" Target="../media/image43.png"/><Relationship Id="rId5" Type="http://schemas.openxmlformats.org/officeDocument/2006/relationships/oleObject" Target="../embeddings/oleObject7.bin"/><Relationship Id="rId10" Type="http://schemas.openxmlformats.org/officeDocument/2006/relationships/image" Target="../media/image7.svg"/><Relationship Id="rId4" Type="http://schemas.openxmlformats.org/officeDocument/2006/relationships/slideLayout" Target="../slideLayouts/slideLayout12.xml"/><Relationship Id="rId9" Type="http://schemas.openxmlformats.org/officeDocument/2006/relationships/image" Target="../media/image6.png"/></Relationships>
</file>

<file path=ppt/slides/_rels/slide22.xml.rels><?xml version="1.0" encoding="UTF-8" standalone="yes"?>
<Relationships xmlns="http://schemas.openxmlformats.org/package/2006/relationships"><Relationship Id="rId8" Type="http://schemas.openxmlformats.org/officeDocument/2006/relationships/image" Target="../media/image5.svg"/><Relationship Id="rId3" Type="http://schemas.openxmlformats.org/officeDocument/2006/relationships/tags" Target="../tags/tag14.xml"/><Relationship Id="rId7" Type="http://schemas.openxmlformats.org/officeDocument/2006/relationships/image" Target="../media/image4.png"/><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image" Target="../media/image34.emf"/><Relationship Id="rId11" Type="http://schemas.openxmlformats.org/officeDocument/2006/relationships/image" Target="../media/image44.emf"/><Relationship Id="rId5" Type="http://schemas.openxmlformats.org/officeDocument/2006/relationships/oleObject" Target="../embeddings/oleObject8.bin"/><Relationship Id="rId10" Type="http://schemas.openxmlformats.org/officeDocument/2006/relationships/image" Target="../media/image7.svg"/><Relationship Id="rId4" Type="http://schemas.openxmlformats.org/officeDocument/2006/relationships/slideLayout" Target="../slideLayouts/slideLayout12.xml"/><Relationship Id="rId9" Type="http://schemas.openxmlformats.org/officeDocument/2006/relationships/image" Target="../media/image6.png"/></Relationships>
</file>

<file path=ppt/slides/_rels/slide2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Layout" Target="../slideLayouts/slideLayout12.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5.svg"/></Relationships>
</file>

<file path=ppt/slides/_rels/slide24.xml.rels><?xml version="1.0" encoding="UTF-8" standalone="yes"?>
<Relationships xmlns="http://schemas.openxmlformats.org/package/2006/relationships"><Relationship Id="rId8" Type="http://schemas.openxmlformats.org/officeDocument/2006/relationships/image" Target="../media/image5.svg"/><Relationship Id="rId3" Type="http://schemas.openxmlformats.org/officeDocument/2006/relationships/tags" Target="../tags/tag16.xml"/><Relationship Id="rId7" Type="http://schemas.openxmlformats.org/officeDocument/2006/relationships/image" Target="../media/image4.png"/><Relationship Id="rId2" Type="http://schemas.openxmlformats.org/officeDocument/2006/relationships/tags" Target="../tags/tag15.xml"/><Relationship Id="rId1" Type="http://schemas.openxmlformats.org/officeDocument/2006/relationships/vmlDrawing" Target="../drawings/vmlDrawing9.vml"/><Relationship Id="rId6" Type="http://schemas.openxmlformats.org/officeDocument/2006/relationships/image" Target="../media/image34.emf"/><Relationship Id="rId5" Type="http://schemas.openxmlformats.org/officeDocument/2006/relationships/oleObject" Target="../embeddings/oleObject9.bin"/><Relationship Id="rId10" Type="http://schemas.openxmlformats.org/officeDocument/2006/relationships/image" Target="../media/image7.svg"/><Relationship Id="rId4" Type="http://schemas.openxmlformats.org/officeDocument/2006/relationships/slideLayout" Target="../slideLayouts/slideLayout12.xml"/><Relationship Id="rId9" Type="http://schemas.openxmlformats.org/officeDocument/2006/relationships/image" Target="../media/image6.png"/></Relationships>
</file>

<file path=ppt/slides/_rels/slide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image" Target="../media/image2.png"/><Relationship Id="rId1" Type="http://schemas.openxmlformats.org/officeDocument/2006/relationships/slideLayout" Target="../slideLayouts/slideLayout12.xml"/><Relationship Id="rId6" Type="http://schemas.openxmlformats.org/officeDocument/2006/relationships/image" Target="../media/image14.png"/><Relationship Id="rId11" Type="http://schemas.openxmlformats.org/officeDocument/2006/relationships/image" Target="../media/image7.svg"/><Relationship Id="rId5" Type="http://schemas.openxmlformats.org/officeDocument/2006/relationships/image" Target="../media/image13.png"/><Relationship Id="rId10" Type="http://schemas.openxmlformats.org/officeDocument/2006/relationships/image" Target="../media/image6.png"/><Relationship Id="rId4" Type="http://schemas.openxmlformats.org/officeDocument/2006/relationships/image" Target="../media/image12.png"/><Relationship Id="rId9" Type="http://schemas.openxmlformats.org/officeDocument/2006/relationships/image" Target="../media/image5.svg"/></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Layout" Target="../slideLayouts/slideLayout12.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5.svg"/></Relationships>
</file>

<file path=ppt/slides/_rels/slide5.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5.svg"/><Relationship Id="rId7" Type="http://schemas.openxmlformats.org/officeDocument/2006/relationships/image" Target="../media/image17.png"/><Relationship Id="rId12" Type="http://schemas.openxmlformats.org/officeDocument/2006/relationships/image" Target="../media/image22.png"/><Relationship Id="rId2" Type="http://schemas.openxmlformats.org/officeDocument/2006/relationships/image" Target="../media/image4.png"/><Relationship Id="rId1" Type="http://schemas.openxmlformats.org/officeDocument/2006/relationships/slideLayout" Target="../slideLayouts/slideLayout12.xml"/><Relationship Id="rId6" Type="http://schemas.openxmlformats.org/officeDocument/2006/relationships/image" Target="../media/image16.png"/><Relationship Id="rId11" Type="http://schemas.openxmlformats.org/officeDocument/2006/relationships/image" Target="../media/image21.png"/><Relationship Id="rId5" Type="http://schemas.openxmlformats.org/officeDocument/2006/relationships/image" Target="../media/image7.svg"/><Relationship Id="rId10" Type="http://schemas.openxmlformats.org/officeDocument/2006/relationships/image" Target="../media/image20.png"/><Relationship Id="rId4" Type="http://schemas.openxmlformats.org/officeDocument/2006/relationships/image" Target="../media/image6.png"/><Relationship Id="rId9" Type="http://schemas.openxmlformats.org/officeDocument/2006/relationships/image" Target="../media/image19.png"/></Relationships>
</file>

<file path=ppt/slides/_rels/slide6.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23.png"/><Relationship Id="rId7" Type="http://schemas.openxmlformats.org/officeDocument/2006/relationships/image" Target="../media/image5.svg"/><Relationship Id="rId2" Type="http://schemas.openxmlformats.org/officeDocument/2006/relationships/image" Target="../media/image2.png"/><Relationship Id="rId1" Type="http://schemas.openxmlformats.org/officeDocument/2006/relationships/slideLayout" Target="../slideLayouts/slideLayout12.xml"/><Relationship Id="rId6" Type="http://schemas.openxmlformats.org/officeDocument/2006/relationships/image" Target="../media/image4.png"/><Relationship Id="rId5" Type="http://schemas.openxmlformats.org/officeDocument/2006/relationships/image" Target="../media/image25.png"/><Relationship Id="rId10" Type="http://schemas.openxmlformats.org/officeDocument/2006/relationships/image" Target="../media/image26.png"/><Relationship Id="rId4" Type="http://schemas.openxmlformats.org/officeDocument/2006/relationships/image" Target="../media/image24.png"/><Relationship Id="rId9" Type="http://schemas.openxmlformats.org/officeDocument/2006/relationships/image" Target="../media/image7.svg"/></Relationships>
</file>

<file path=ppt/slides/_rels/slide7.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5.svg"/><Relationship Id="rId7" Type="http://schemas.openxmlformats.org/officeDocument/2006/relationships/image" Target="../media/image28.png"/><Relationship Id="rId2" Type="http://schemas.openxmlformats.org/officeDocument/2006/relationships/image" Target="../media/image4.png"/><Relationship Id="rId1" Type="http://schemas.openxmlformats.org/officeDocument/2006/relationships/slideLayout" Target="../slideLayouts/slideLayout12.xml"/><Relationship Id="rId6" Type="http://schemas.openxmlformats.org/officeDocument/2006/relationships/image" Target="../media/image27.png"/><Relationship Id="rId5" Type="http://schemas.openxmlformats.org/officeDocument/2006/relationships/image" Target="../media/image7.svg"/><Relationship Id="rId4" Type="http://schemas.openxmlformats.org/officeDocument/2006/relationships/image" Target="../media/image6.png"/></Relationships>
</file>

<file path=ppt/slides/_rels/slide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Layout" Target="../slideLayouts/slideLayout12.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5.svg"/></Relationships>
</file>

<file path=ppt/slides/_rels/slide9.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31.png"/><Relationship Id="rId7" Type="http://schemas.openxmlformats.org/officeDocument/2006/relationships/image" Target="../media/image5.svg"/><Relationship Id="rId2" Type="http://schemas.openxmlformats.org/officeDocument/2006/relationships/image" Target="../media/image30.png"/><Relationship Id="rId1" Type="http://schemas.openxmlformats.org/officeDocument/2006/relationships/slideLayout" Target="../slideLayouts/slideLayout12.xml"/><Relationship Id="rId6" Type="http://schemas.openxmlformats.org/officeDocument/2006/relationships/image" Target="../media/image4.png"/><Relationship Id="rId5" Type="http://schemas.openxmlformats.org/officeDocument/2006/relationships/image" Target="../media/image33.png"/><Relationship Id="rId4" Type="http://schemas.openxmlformats.org/officeDocument/2006/relationships/image" Target="../media/image32.png"/><Relationship Id="rId9" Type="http://schemas.openxmlformats.org/officeDocument/2006/relationships/image" Target="../media/image7.sv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Right Triangle 4">
            <a:extLst>
              <a:ext uri="{FF2B5EF4-FFF2-40B4-BE49-F238E27FC236}">
                <a16:creationId xmlns:a16="http://schemas.microsoft.com/office/drawing/2014/main" id="{0230B4A8-42BC-44F2-8424-DB025E09840C}"/>
              </a:ext>
            </a:extLst>
          </p:cNvPr>
          <p:cNvSpPr/>
          <p:nvPr/>
        </p:nvSpPr>
        <p:spPr>
          <a:xfrm flipH="1">
            <a:off x="4931546" y="-2"/>
            <a:ext cx="7263161" cy="6857999"/>
          </a:xfrm>
          <a:prstGeom prst="rtTriangl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rapezoid 5">
            <a:extLst>
              <a:ext uri="{FF2B5EF4-FFF2-40B4-BE49-F238E27FC236}">
                <a16:creationId xmlns:a16="http://schemas.microsoft.com/office/drawing/2014/main" id="{362A30F9-E859-4834-8C11-58A839DCC689}"/>
              </a:ext>
            </a:extLst>
          </p:cNvPr>
          <p:cNvSpPr/>
          <p:nvPr/>
        </p:nvSpPr>
        <p:spPr>
          <a:xfrm>
            <a:off x="3962400" y="0"/>
            <a:ext cx="7824440" cy="6857999"/>
          </a:xfrm>
          <a:prstGeom prst="trapezoid">
            <a:avLst>
              <a:gd name="adj" fmla="val 64309"/>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Isosceles Triangle 7">
            <a:extLst>
              <a:ext uri="{FF2B5EF4-FFF2-40B4-BE49-F238E27FC236}">
                <a16:creationId xmlns:a16="http://schemas.microsoft.com/office/drawing/2014/main" id="{26ACC312-B3EF-4D95-836D-2893E512D694}"/>
              </a:ext>
            </a:extLst>
          </p:cNvPr>
          <p:cNvSpPr/>
          <p:nvPr/>
        </p:nvSpPr>
        <p:spPr>
          <a:xfrm flipV="1">
            <a:off x="7874000" y="-2"/>
            <a:ext cx="4317999" cy="2865864"/>
          </a:xfrm>
          <a:prstGeom prst="triangle">
            <a:avLst>
              <a:gd name="adj" fmla="val 37959"/>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Nadpis 5">
            <a:extLst>
              <a:ext uri="{FF2B5EF4-FFF2-40B4-BE49-F238E27FC236}">
                <a16:creationId xmlns:a16="http://schemas.microsoft.com/office/drawing/2014/main" id="{CB9D84EF-607D-4E1A-9EF4-1D9EA47BD6A6}"/>
              </a:ext>
            </a:extLst>
          </p:cNvPr>
          <p:cNvSpPr txBox="1">
            <a:spLocks/>
          </p:cNvSpPr>
          <p:nvPr/>
        </p:nvSpPr>
        <p:spPr bwMode="auto">
          <a:xfrm>
            <a:off x="259461" y="2672345"/>
            <a:ext cx="5946321" cy="151330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68564" tIns="34281" rIns="68564" bIns="34281" numCol="1" anchor="ctr" anchorCtr="0" compatLnSpc="1">
            <a:prstTxWarp prst="textNoShape">
              <a:avLst/>
            </a:prstTxWarp>
          </a:bodyPr>
          <a:lstStyle>
            <a:lvl1pPr algn="ctr" defTabSz="455613" rtl="0" eaLnBrk="0" fontAlgn="base" hangingPunct="0">
              <a:spcBef>
                <a:spcPct val="0"/>
              </a:spcBef>
              <a:spcAft>
                <a:spcPct val="0"/>
              </a:spcAft>
              <a:defRPr lang="en-US" sz="2800" kern="1200">
                <a:solidFill>
                  <a:schemeClr val="accent2"/>
                </a:solidFill>
                <a:latin typeface="Roboto Light"/>
                <a:ea typeface="ＭＳ Ｐゴシック" charset="0"/>
                <a:cs typeface="Roboto Light"/>
              </a:defRPr>
            </a:lvl1pPr>
            <a:lvl2pPr algn="ctr" defTabSz="455613" rtl="0" eaLnBrk="0" fontAlgn="base" hangingPunct="0">
              <a:spcBef>
                <a:spcPct val="0"/>
              </a:spcBef>
              <a:spcAft>
                <a:spcPct val="0"/>
              </a:spcAft>
              <a:defRPr sz="2800">
                <a:solidFill>
                  <a:schemeClr val="accent2"/>
                </a:solidFill>
                <a:latin typeface="Roboto Light" charset="0"/>
                <a:ea typeface="ＭＳ Ｐゴシック" charset="0"/>
              </a:defRPr>
            </a:lvl2pPr>
            <a:lvl3pPr algn="ctr" defTabSz="455613" rtl="0" eaLnBrk="0" fontAlgn="base" hangingPunct="0">
              <a:spcBef>
                <a:spcPct val="0"/>
              </a:spcBef>
              <a:spcAft>
                <a:spcPct val="0"/>
              </a:spcAft>
              <a:defRPr sz="2800">
                <a:solidFill>
                  <a:schemeClr val="accent2"/>
                </a:solidFill>
                <a:latin typeface="Roboto Light" charset="0"/>
                <a:ea typeface="ＭＳ Ｐゴシック" charset="0"/>
              </a:defRPr>
            </a:lvl3pPr>
            <a:lvl4pPr algn="ctr" defTabSz="455613" rtl="0" eaLnBrk="0" fontAlgn="base" hangingPunct="0">
              <a:spcBef>
                <a:spcPct val="0"/>
              </a:spcBef>
              <a:spcAft>
                <a:spcPct val="0"/>
              </a:spcAft>
              <a:defRPr sz="2800">
                <a:solidFill>
                  <a:schemeClr val="accent2"/>
                </a:solidFill>
                <a:latin typeface="Roboto Light" charset="0"/>
                <a:ea typeface="ＭＳ Ｐゴシック" charset="0"/>
              </a:defRPr>
            </a:lvl4pPr>
            <a:lvl5pPr algn="ctr" defTabSz="455613" rtl="0" eaLnBrk="0" fontAlgn="base" hangingPunct="0">
              <a:spcBef>
                <a:spcPct val="0"/>
              </a:spcBef>
              <a:spcAft>
                <a:spcPct val="0"/>
              </a:spcAft>
              <a:defRPr sz="2800">
                <a:solidFill>
                  <a:schemeClr val="accent2"/>
                </a:solidFill>
                <a:latin typeface="Roboto Light" charset="0"/>
                <a:ea typeface="ＭＳ Ｐゴシック" charset="0"/>
              </a:defRPr>
            </a:lvl5pPr>
            <a:lvl6pPr marL="457200" algn="ctr" defTabSz="455613" rtl="0" fontAlgn="base">
              <a:spcBef>
                <a:spcPct val="0"/>
              </a:spcBef>
              <a:spcAft>
                <a:spcPct val="0"/>
              </a:spcAft>
              <a:defRPr sz="2800">
                <a:solidFill>
                  <a:schemeClr val="accent2"/>
                </a:solidFill>
                <a:latin typeface="Roboto Light" charset="0"/>
                <a:ea typeface="ＭＳ Ｐゴシック" charset="0"/>
              </a:defRPr>
            </a:lvl6pPr>
            <a:lvl7pPr marL="914400" algn="ctr" defTabSz="455613" rtl="0" fontAlgn="base">
              <a:spcBef>
                <a:spcPct val="0"/>
              </a:spcBef>
              <a:spcAft>
                <a:spcPct val="0"/>
              </a:spcAft>
              <a:defRPr sz="2800">
                <a:solidFill>
                  <a:schemeClr val="accent2"/>
                </a:solidFill>
                <a:latin typeface="Roboto Light" charset="0"/>
                <a:ea typeface="ＭＳ Ｐゴシック" charset="0"/>
              </a:defRPr>
            </a:lvl7pPr>
            <a:lvl8pPr marL="1371600" algn="ctr" defTabSz="455613" rtl="0" fontAlgn="base">
              <a:spcBef>
                <a:spcPct val="0"/>
              </a:spcBef>
              <a:spcAft>
                <a:spcPct val="0"/>
              </a:spcAft>
              <a:defRPr sz="2800">
                <a:solidFill>
                  <a:schemeClr val="accent2"/>
                </a:solidFill>
                <a:latin typeface="Roboto Light" charset="0"/>
                <a:ea typeface="ＭＳ Ｐゴシック" charset="0"/>
              </a:defRPr>
            </a:lvl8pPr>
            <a:lvl9pPr marL="1828800" algn="ctr" defTabSz="455613" rtl="0" fontAlgn="base">
              <a:spcBef>
                <a:spcPct val="0"/>
              </a:spcBef>
              <a:spcAft>
                <a:spcPct val="0"/>
              </a:spcAft>
              <a:defRPr sz="2800">
                <a:solidFill>
                  <a:schemeClr val="accent2"/>
                </a:solidFill>
                <a:latin typeface="Roboto Light" charset="0"/>
                <a:ea typeface="ＭＳ Ｐゴシック" charset="0"/>
              </a:defRPr>
            </a:lvl9pPr>
          </a:lstStyle>
          <a:p>
            <a:pPr algn="just" defTabSz="455602"/>
            <a:r>
              <a:rPr lang="en-US" sz="3600" b="1">
                <a:solidFill>
                  <a:srgbClr val="002060"/>
                </a:solidFill>
                <a:latin typeface="Georgia" panose="02040502050405020303" pitchFamily="18" charset="0"/>
                <a:ea typeface="Cambria" panose="02040503050406030204" pitchFamily="18" charset="0"/>
                <a:cs typeface="Times New Roman" panose="02020603050405020304" pitchFamily="18" charset="0"/>
              </a:rPr>
              <a:t>Optimizing Promotional Product Groupings in the Retail Industry</a:t>
            </a:r>
            <a:endParaRPr lang="en-US" sz="3600">
              <a:solidFill>
                <a:srgbClr val="002060"/>
              </a:solidFill>
              <a:latin typeface="Georgia" panose="02040502050405020303" pitchFamily="18" charset="0"/>
              <a:ea typeface="Cambria" panose="02040503050406030204" pitchFamily="18" charset="0"/>
              <a:cs typeface="Times New Roman" panose="02020603050405020304" pitchFamily="18" charset="0"/>
            </a:endParaRPr>
          </a:p>
        </p:txBody>
      </p:sp>
      <p:pic>
        <p:nvPicPr>
          <p:cNvPr id="13" name="Picture 3" descr="Image result for purdue krannert">
            <a:extLst>
              <a:ext uri="{FF2B5EF4-FFF2-40B4-BE49-F238E27FC236}">
                <a16:creationId xmlns:a16="http://schemas.microsoft.com/office/drawing/2014/main" id="{38E15CEC-8552-4587-9433-E9FF47AFAB5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782834" y="5641320"/>
            <a:ext cx="2004006" cy="1005125"/>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93610AB8-414E-45C2-AB9B-405CF6F0156D}"/>
              </a:ext>
            </a:extLst>
          </p:cNvPr>
          <p:cNvSpPr/>
          <p:nvPr/>
        </p:nvSpPr>
        <p:spPr>
          <a:xfrm>
            <a:off x="400050" y="6812280"/>
            <a:ext cx="11791579" cy="4572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a:t>
            </a:r>
          </a:p>
        </p:txBody>
      </p:sp>
      <p:pic>
        <p:nvPicPr>
          <p:cNvPr id="10" name="Graphic 9" descr="Toothpaste">
            <a:extLst>
              <a:ext uri="{FF2B5EF4-FFF2-40B4-BE49-F238E27FC236}">
                <a16:creationId xmlns:a16="http://schemas.microsoft.com/office/drawing/2014/main" id="{05DC1272-058E-4078-AE57-794A77E6C55B}"/>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6219692">
            <a:off x="-34366" y="6088478"/>
            <a:ext cx="598153" cy="598153"/>
          </a:xfrm>
          <a:prstGeom prst="rect">
            <a:avLst/>
          </a:prstGeom>
        </p:spPr>
      </p:pic>
      <p:pic>
        <p:nvPicPr>
          <p:cNvPr id="15" name="Graphic 14" descr="Snake">
            <a:extLst>
              <a:ext uri="{FF2B5EF4-FFF2-40B4-BE49-F238E27FC236}">
                <a16:creationId xmlns:a16="http://schemas.microsoft.com/office/drawing/2014/main" id="{8FF9B1D8-7D8C-4EFA-8E8D-1D5446C43979}"/>
              </a:ext>
            </a:extLst>
          </p:cNvPr>
          <p:cNvPicPr>
            <a:picLocks noChangeAspect="1"/>
          </p:cNvPicPr>
          <p:nvPr/>
        </p:nvPicPr>
        <p:blipFill rotWithShape="1">
          <a:blip r:embed="rId5" cstate="hq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l="-2" t="56027" r="47111"/>
          <a:stretch/>
        </p:blipFill>
        <p:spPr>
          <a:xfrm rot="7001259">
            <a:off x="297005" y="6680310"/>
            <a:ext cx="336423" cy="279713"/>
          </a:xfrm>
          <a:prstGeom prst="rect">
            <a:avLst/>
          </a:prstGeom>
        </p:spPr>
      </p:pic>
      <p:grpSp>
        <p:nvGrpSpPr>
          <p:cNvPr id="12" name="Group 11">
            <a:extLst>
              <a:ext uri="{FF2B5EF4-FFF2-40B4-BE49-F238E27FC236}">
                <a16:creationId xmlns:a16="http://schemas.microsoft.com/office/drawing/2014/main" id="{151B713C-774C-412F-9804-6385686C93C1}"/>
              </a:ext>
            </a:extLst>
          </p:cNvPr>
          <p:cNvGrpSpPr/>
          <p:nvPr/>
        </p:nvGrpSpPr>
        <p:grpSpPr>
          <a:xfrm>
            <a:off x="8101949" y="1984526"/>
            <a:ext cx="2598709" cy="2888942"/>
            <a:chOff x="8101949" y="1636261"/>
            <a:chExt cx="2598709" cy="2888942"/>
          </a:xfrm>
        </p:grpSpPr>
        <p:pic>
          <p:nvPicPr>
            <p:cNvPr id="3" name="Picture 2">
              <a:extLst>
                <a:ext uri="{FF2B5EF4-FFF2-40B4-BE49-F238E27FC236}">
                  <a16:creationId xmlns:a16="http://schemas.microsoft.com/office/drawing/2014/main" id="{59E41A42-086D-4815-8C71-84DA2145BCC2}"/>
                </a:ext>
              </a:extLst>
            </p:cNvPr>
            <p:cNvPicPr>
              <a:picLocks noChangeAspect="1"/>
            </p:cNvPicPr>
            <p:nvPr/>
          </p:nvPicPr>
          <p:blipFill>
            <a:blip r:embed="rId7">
              <a:clrChange>
                <a:clrFrom>
                  <a:srgbClr val="FFFFFF"/>
                </a:clrFrom>
                <a:clrTo>
                  <a:srgbClr val="FFFFFF">
                    <a:alpha val="0"/>
                  </a:srgbClr>
                </a:clrTo>
              </a:clrChange>
            </a:blip>
            <a:stretch>
              <a:fillRect/>
            </a:stretch>
          </p:blipFill>
          <p:spPr>
            <a:xfrm>
              <a:off x="8962696" y="1636261"/>
              <a:ext cx="1323234" cy="1369150"/>
            </a:xfrm>
            <a:prstGeom prst="rect">
              <a:avLst/>
            </a:prstGeom>
          </p:spPr>
        </p:pic>
        <p:pic>
          <p:nvPicPr>
            <p:cNvPr id="7" name="Picture 6">
              <a:extLst>
                <a:ext uri="{FF2B5EF4-FFF2-40B4-BE49-F238E27FC236}">
                  <a16:creationId xmlns:a16="http://schemas.microsoft.com/office/drawing/2014/main" id="{E3099D85-B951-4C94-BE51-39D948FCD88A}"/>
                </a:ext>
              </a:extLst>
            </p:cNvPr>
            <p:cNvPicPr>
              <a:picLocks noChangeAspect="1"/>
            </p:cNvPicPr>
            <p:nvPr/>
          </p:nvPicPr>
          <p:blipFill>
            <a:blip r:embed="rId8">
              <a:clrChange>
                <a:clrFrom>
                  <a:srgbClr val="F8FAFB"/>
                </a:clrFrom>
                <a:clrTo>
                  <a:srgbClr val="F8FAFB">
                    <a:alpha val="0"/>
                  </a:srgbClr>
                </a:clrTo>
              </a:clrChange>
              <a:duotone>
                <a:schemeClr val="accent1">
                  <a:shade val="45000"/>
                  <a:satMod val="135000"/>
                </a:schemeClr>
                <a:prstClr val="white"/>
              </a:duotone>
            </a:blip>
            <a:stretch>
              <a:fillRect/>
            </a:stretch>
          </p:blipFill>
          <p:spPr>
            <a:xfrm>
              <a:off x="8101949" y="2164908"/>
              <a:ext cx="2598709" cy="2360295"/>
            </a:xfrm>
            <a:prstGeom prst="rect">
              <a:avLst/>
            </a:prstGeom>
          </p:spPr>
        </p:pic>
      </p:grpSp>
    </p:spTree>
    <p:extLst>
      <p:ext uri="{BB962C8B-B14F-4D97-AF65-F5344CB8AC3E}">
        <p14:creationId xmlns:p14="http://schemas.microsoft.com/office/powerpoint/2010/main" val="333145827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4" name="TextBox 3">
                <a:extLst>
                  <a:ext uri="{FF2B5EF4-FFF2-40B4-BE49-F238E27FC236}">
                    <a16:creationId xmlns:a16="http://schemas.microsoft.com/office/drawing/2014/main" id="{9CC1E34C-0532-4C10-AF18-4A598D24BE4C}"/>
                  </a:ext>
                </a:extLst>
              </p:cNvPr>
              <p:cNvSpPr txBox="1"/>
              <p:nvPr/>
            </p:nvSpPr>
            <p:spPr>
              <a:xfrm>
                <a:off x="657222" y="917896"/>
                <a:ext cx="11534407" cy="1078052"/>
              </a:xfrm>
              <a:prstGeom prst="rect">
                <a:avLst/>
              </a:prstGeom>
              <a:noFill/>
            </p:spPr>
            <p:txBody>
              <a:bodyPr wrap="square" rtlCol="0">
                <a:spAutoFit/>
              </a:bodyPr>
              <a:lstStyle/>
              <a:p>
                <a:r>
                  <a:rPr lang="en-US" sz="1600" b="1" dirty="0">
                    <a:solidFill>
                      <a:srgbClr val="0070C0"/>
                    </a:solidFill>
                    <a:latin typeface="Georgia" panose="02040502050405020303" pitchFamily="18" charset="0"/>
                  </a:rPr>
                  <a:t>Objective Function:</a:t>
                </a:r>
              </a:p>
              <a:p>
                <a:r>
                  <a:rPr lang="en-US" sz="1600" dirty="0">
                    <a:latin typeface="Georgia" panose="02040502050405020303" pitchFamily="18" charset="0"/>
                  </a:rPr>
                  <a:t>Max Z = </a:t>
                </a:r>
                <a14:m>
                  <m:oMath xmlns:m="http://schemas.openxmlformats.org/officeDocument/2006/math">
                    <m:nary>
                      <m:naryPr>
                        <m:chr m:val="∑"/>
                        <m:ctrlPr>
                          <a:rPr lang="pt-BR" sz="1600" i="1">
                            <a:latin typeface="Cambria Math" panose="02040503050406030204" pitchFamily="18" charset="0"/>
                          </a:rPr>
                        </m:ctrlPr>
                      </m:naryPr>
                      <m:sub>
                        <m:r>
                          <a:rPr lang="en-US" sz="1600" b="0" i="1" smtClean="0">
                            <a:latin typeface="Cambria Math" panose="02040503050406030204" pitchFamily="18" charset="0"/>
                          </a:rPr>
                          <m:t>𝑖</m:t>
                        </m:r>
                        <m:r>
                          <a:rPr lang="pt-BR" sz="1600" i="1">
                            <a:latin typeface="Cambria Math" panose="02040503050406030204" pitchFamily="18" charset="0"/>
                          </a:rPr>
                          <m:t>=</m:t>
                        </m:r>
                        <m:r>
                          <a:rPr lang="en-US" sz="1600" b="0" i="1" smtClean="0">
                            <a:latin typeface="Cambria Math" panose="02040503050406030204" pitchFamily="18" charset="0"/>
                          </a:rPr>
                          <m:t>1</m:t>
                        </m:r>
                      </m:sub>
                      <m:sup>
                        <m:r>
                          <a:rPr lang="pt-BR" sz="1600" i="1">
                            <a:latin typeface="Cambria Math" panose="02040503050406030204" pitchFamily="18" charset="0"/>
                          </a:rPr>
                          <m:t>𝑛</m:t>
                        </m:r>
                      </m:sup>
                      <m:e>
                        <m:d>
                          <m:dPr>
                            <m:begChr m:val="["/>
                            <m:endChr m:val="]"/>
                            <m:ctrlPr>
                              <a:rPr lang="en-US" sz="1600" b="0" i="1" smtClean="0">
                                <a:latin typeface="Cambria Math" panose="02040503050406030204" pitchFamily="18" charset="0"/>
                              </a:rPr>
                            </m:ctrlPr>
                          </m:dPr>
                          <m:e>
                            <m:r>
                              <a:rPr lang="en-US" sz="1600" b="0" i="1" smtClean="0">
                                <a:latin typeface="Cambria Math" panose="02040503050406030204" pitchFamily="18" charset="0"/>
                              </a:rPr>
                              <m:t>𝑃</m:t>
                            </m:r>
                            <m:r>
                              <a:rPr lang="en-US" sz="1600" b="0" i="1" smtClean="0">
                                <a:latin typeface="Cambria Math" panose="02040503050406030204" pitchFamily="18" charset="0"/>
                              </a:rPr>
                              <m:t>(</m:t>
                            </m:r>
                            <m:r>
                              <a:rPr lang="en-US" sz="1600" b="0" i="1" smtClean="0">
                                <a:latin typeface="Cambria Math" panose="02040503050406030204" pitchFamily="18" charset="0"/>
                              </a:rPr>
                              <m:t>𝑋𝑖</m:t>
                            </m:r>
                            <m:r>
                              <a:rPr lang="en-US" sz="1600" b="0" i="1" smtClean="0">
                                <a:latin typeface="Cambria Math" panose="02040503050406030204" pitchFamily="18" charset="0"/>
                              </a:rPr>
                              <m:t>)∗</m:t>
                            </m:r>
                            <m:r>
                              <a:rPr lang="en-US" sz="1600" b="0" i="1" smtClean="0">
                                <a:latin typeface="Cambria Math" panose="02040503050406030204" pitchFamily="18" charset="0"/>
                              </a:rPr>
                              <m:t>𝑄</m:t>
                            </m:r>
                            <m:r>
                              <a:rPr lang="en-US" sz="1600" b="0" i="1" smtClean="0">
                                <a:latin typeface="Cambria Math" panose="02040503050406030204" pitchFamily="18" charset="0"/>
                              </a:rPr>
                              <m:t>(</m:t>
                            </m:r>
                            <m:r>
                              <a:rPr lang="en-US" sz="1600" b="0" i="1" smtClean="0">
                                <a:latin typeface="Cambria Math" panose="02040503050406030204" pitchFamily="18" charset="0"/>
                              </a:rPr>
                              <m:t>𝑋𝑖</m:t>
                            </m:r>
                            <m:r>
                              <a:rPr lang="en-US" sz="1600" b="0" i="1" smtClean="0">
                                <a:latin typeface="Cambria Math" panose="02040503050406030204" pitchFamily="18" charset="0"/>
                              </a:rPr>
                              <m:t>)∗</m:t>
                            </m:r>
                            <m:r>
                              <a:rPr lang="en-US" sz="1600" b="0" i="1" smtClean="0">
                                <a:latin typeface="Cambria Math" panose="02040503050406030204" pitchFamily="18" charset="0"/>
                              </a:rPr>
                              <m:t>𝐷</m:t>
                            </m:r>
                            <m:r>
                              <a:rPr lang="en-US" sz="1600" b="0" i="1" smtClean="0">
                                <a:latin typeface="Cambria Math" panose="02040503050406030204" pitchFamily="18" charset="0"/>
                              </a:rPr>
                              <m:t>(</m:t>
                            </m:r>
                            <m:r>
                              <a:rPr lang="en-US" sz="1600" b="0" i="1" smtClean="0">
                                <a:latin typeface="Cambria Math" panose="02040503050406030204" pitchFamily="18" charset="0"/>
                              </a:rPr>
                              <m:t>𝑋𝑖</m:t>
                            </m:r>
                            <m:r>
                              <a:rPr lang="en-US" sz="1600" b="0" i="1" smtClean="0">
                                <a:latin typeface="Cambria Math" panose="02040503050406030204" pitchFamily="18" charset="0"/>
                              </a:rPr>
                              <m:t>)∗</m:t>
                            </m:r>
                            <m:d>
                              <m:dPr>
                                <m:ctrlPr>
                                  <a:rPr lang="en-US" sz="1600" b="0" i="1" smtClean="0">
                                    <a:latin typeface="Cambria Math" panose="02040503050406030204" pitchFamily="18" charset="0"/>
                                  </a:rPr>
                                </m:ctrlPr>
                              </m:dPr>
                              <m:e>
                                <m:r>
                                  <a:rPr lang="en-US" sz="1600" b="0" i="1" smtClean="0">
                                    <a:latin typeface="Cambria Math" panose="02040503050406030204" pitchFamily="18" charset="0"/>
                                  </a:rPr>
                                  <m:t>1.1</m:t>
                                </m:r>
                              </m:e>
                            </m:d>
                          </m:e>
                        </m:d>
                        <m:r>
                          <a:rPr lang="en-US" sz="1600" b="0" i="1" smtClean="0">
                            <a:latin typeface="Cambria Math" panose="02040503050406030204" pitchFamily="18" charset="0"/>
                          </a:rPr>
                          <m:t>+</m:t>
                        </m:r>
                        <m:d>
                          <m:dPr>
                            <m:begChr m:val="["/>
                            <m:endChr m:val="]"/>
                            <m:ctrlPr>
                              <a:rPr lang="en-US" sz="1600" i="1" smtClean="0">
                                <a:latin typeface="Cambria Math" panose="02040503050406030204" pitchFamily="18" charset="0"/>
                              </a:rPr>
                            </m:ctrlPr>
                          </m:dPr>
                          <m:e>
                            <m:r>
                              <a:rPr lang="en-US" sz="1600" b="0" i="1" smtClean="0">
                                <a:latin typeface="Cambria Math" panose="02040503050406030204" pitchFamily="18" charset="0"/>
                              </a:rPr>
                              <m:t>𝑃</m:t>
                            </m:r>
                            <m:r>
                              <a:rPr lang="en-US" sz="1600" b="0" i="1" smtClean="0">
                                <a:latin typeface="Cambria Math" panose="02040503050406030204" pitchFamily="18" charset="0"/>
                              </a:rPr>
                              <m:t>(</m:t>
                            </m:r>
                            <m:r>
                              <a:rPr lang="en-US" sz="1600" b="0" i="1" smtClean="0">
                                <a:latin typeface="Cambria Math" panose="02040503050406030204" pitchFamily="18" charset="0"/>
                              </a:rPr>
                              <m:t>𝑋𝑖</m:t>
                            </m:r>
                            <m:r>
                              <a:rPr lang="en-US" sz="1600" b="0" i="1" smtClean="0">
                                <a:latin typeface="Cambria Math" panose="02040503050406030204" pitchFamily="18" charset="0"/>
                              </a:rPr>
                              <m:t>)∗</m:t>
                            </m:r>
                            <m:r>
                              <a:rPr lang="en-US" sz="1600" i="1">
                                <a:latin typeface="Cambria Math" panose="02040503050406030204" pitchFamily="18" charset="0"/>
                              </a:rPr>
                              <m:t>𝑄</m:t>
                            </m:r>
                            <m:r>
                              <a:rPr lang="en-US" sz="1600" b="0" i="1" smtClean="0">
                                <a:latin typeface="Cambria Math" panose="02040503050406030204" pitchFamily="18" charset="0"/>
                              </a:rPr>
                              <m:t>(</m:t>
                            </m:r>
                            <m:r>
                              <a:rPr lang="en-US" sz="1600" b="0" i="1" smtClean="0">
                                <a:latin typeface="Cambria Math" panose="02040503050406030204" pitchFamily="18" charset="0"/>
                              </a:rPr>
                              <m:t>𝑋𝑖</m:t>
                            </m:r>
                            <m:r>
                              <a:rPr lang="en-US" sz="1600" b="0" i="1" smtClean="0">
                                <a:latin typeface="Cambria Math" panose="02040503050406030204" pitchFamily="18" charset="0"/>
                              </a:rPr>
                              <m:t>)∗(1−</m:t>
                            </m:r>
                            <m:r>
                              <a:rPr lang="en-US" sz="1600" i="1">
                                <a:latin typeface="Cambria Math" panose="02040503050406030204" pitchFamily="18" charset="0"/>
                              </a:rPr>
                              <m:t>𝐷</m:t>
                            </m:r>
                            <m:r>
                              <a:rPr lang="en-US" sz="1600" b="0" i="1" smtClean="0">
                                <a:latin typeface="Cambria Math" panose="02040503050406030204" pitchFamily="18" charset="0"/>
                              </a:rPr>
                              <m:t>(</m:t>
                            </m:r>
                            <m:r>
                              <a:rPr lang="en-US" sz="1600" b="0" i="1" smtClean="0">
                                <a:latin typeface="Cambria Math" panose="02040503050406030204" pitchFamily="18" charset="0"/>
                              </a:rPr>
                              <m:t>𝑋𝑖</m:t>
                            </m:r>
                            <m:r>
                              <a:rPr lang="en-US" sz="1600" b="0" i="1" smtClean="0">
                                <a:latin typeface="Cambria Math" panose="02040503050406030204" pitchFamily="18" charset="0"/>
                              </a:rPr>
                              <m:t>))</m:t>
                            </m:r>
                          </m:e>
                        </m:d>
                      </m:e>
                    </m:nary>
                  </m:oMath>
                </a14:m>
                <a:r>
                  <a:rPr lang="en-US" sz="1600" dirty="0">
                    <a:latin typeface="Georgia" panose="02040502050405020303" pitchFamily="18" charset="0"/>
                  </a:rPr>
                  <a:t>		</a:t>
                </a:r>
                <a:r>
                  <a:rPr lang="en-US" sz="1600" i="1" dirty="0">
                    <a:latin typeface="Georgia" panose="02040502050405020303" pitchFamily="18" charset="0"/>
                  </a:rPr>
                  <a:t>P(X</a:t>
                </a:r>
                <a:r>
                  <a:rPr lang="en-US" sz="1600" i="1" baseline="-25000" dirty="0">
                    <a:latin typeface="Georgia" panose="02040502050405020303" pitchFamily="18" charset="0"/>
                  </a:rPr>
                  <a:t>i</a:t>
                </a:r>
                <a:r>
                  <a:rPr lang="en-US" sz="1600" i="1" dirty="0">
                    <a:latin typeface="Georgia" panose="02040502050405020303" pitchFamily="18" charset="0"/>
                  </a:rPr>
                  <a:t>) is product sales Price</a:t>
                </a:r>
              </a:p>
              <a:p>
                <a:r>
                  <a:rPr lang="en-US" sz="1600" i="1" dirty="0">
                    <a:latin typeface="Georgia" panose="02040502050405020303" pitchFamily="18" charset="0"/>
                  </a:rPr>
                  <a:t>																Q(X</a:t>
                </a:r>
                <a:r>
                  <a:rPr lang="en-US" sz="1600" i="1" baseline="-25000" dirty="0">
                    <a:latin typeface="Georgia" panose="02040502050405020303" pitchFamily="18" charset="0"/>
                  </a:rPr>
                  <a:t>i</a:t>
                </a:r>
                <a:r>
                  <a:rPr lang="en-US" sz="1600" i="1" dirty="0">
                    <a:latin typeface="Georgia" panose="02040502050405020303" pitchFamily="18" charset="0"/>
                  </a:rPr>
                  <a:t>) is Quantities sold for each Product</a:t>
                </a:r>
              </a:p>
              <a:p>
                <a:r>
                  <a:rPr lang="en-US" sz="1600" i="1" dirty="0">
                    <a:latin typeface="Georgia" panose="02040502050405020303" pitchFamily="18" charset="0"/>
                  </a:rPr>
                  <a:t>																D(X</a:t>
                </a:r>
                <a:r>
                  <a:rPr lang="en-US" sz="1600" i="1" baseline="-25000" dirty="0">
                    <a:latin typeface="Georgia" panose="02040502050405020303" pitchFamily="18" charset="0"/>
                  </a:rPr>
                  <a:t>i</a:t>
                </a:r>
                <a:r>
                  <a:rPr lang="en-US" sz="1600" i="1" dirty="0">
                    <a:latin typeface="Georgia" panose="02040502050405020303" pitchFamily="18" charset="0"/>
                  </a:rPr>
                  <a:t>) is the Decision variable (0 or 1)</a:t>
                </a:r>
                <a:endParaRPr lang="en-US" sz="1600" dirty="0">
                  <a:latin typeface="Georgia" panose="02040502050405020303" pitchFamily="18" charset="0"/>
                </a:endParaRPr>
              </a:p>
            </p:txBody>
          </p:sp>
        </mc:Choice>
        <mc:Fallback xmlns="">
          <p:sp>
            <p:nvSpPr>
              <p:cNvPr id="4" name="TextBox 3">
                <a:extLst>
                  <a:ext uri="{FF2B5EF4-FFF2-40B4-BE49-F238E27FC236}">
                    <a16:creationId xmlns:a16="http://schemas.microsoft.com/office/drawing/2014/main" id="{9CC1E34C-0532-4C10-AF18-4A598D24BE4C}"/>
                  </a:ext>
                </a:extLst>
              </p:cNvPr>
              <p:cNvSpPr txBox="1">
                <a:spLocks noRot="1" noChangeAspect="1" noMove="1" noResize="1" noEditPoints="1" noAdjustHandles="1" noChangeArrowheads="1" noChangeShapeType="1" noTextEdit="1"/>
              </p:cNvSpPr>
              <p:nvPr/>
            </p:nvSpPr>
            <p:spPr>
              <a:xfrm>
                <a:off x="657222" y="917896"/>
                <a:ext cx="11534407" cy="1078052"/>
              </a:xfrm>
              <a:prstGeom prst="rect">
                <a:avLst/>
              </a:prstGeom>
              <a:blipFill>
                <a:blip r:embed="rId2"/>
                <a:stretch>
                  <a:fillRect l="-317" t="-11364" b="-8523"/>
                </a:stretch>
              </a:blipFill>
            </p:spPr>
            <p:txBody>
              <a:bodyPr/>
              <a:lstStyle/>
              <a:p>
                <a:r>
                  <a:rPr lang="en-US">
                    <a:noFill/>
                  </a:rPr>
                  <a:t> </a:t>
                </a:r>
              </a:p>
            </p:txBody>
          </p:sp>
        </mc:Fallback>
      </mc:AlternateContent>
      <p:sp>
        <p:nvSpPr>
          <p:cNvPr id="5" name="TextBox 4">
            <a:extLst>
              <a:ext uri="{FF2B5EF4-FFF2-40B4-BE49-F238E27FC236}">
                <a16:creationId xmlns:a16="http://schemas.microsoft.com/office/drawing/2014/main" id="{F7AF36D1-7478-40B8-87AD-78021C0FD8F0}"/>
              </a:ext>
            </a:extLst>
          </p:cNvPr>
          <p:cNvSpPr txBox="1"/>
          <p:nvPr/>
        </p:nvSpPr>
        <p:spPr>
          <a:xfrm>
            <a:off x="625964" y="2043978"/>
            <a:ext cx="10982325" cy="584775"/>
          </a:xfrm>
          <a:prstGeom prst="rect">
            <a:avLst/>
          </a:prstGeom>
          <a:noFill/>
        </p:spPr>
        <p:txBody>
          <a:bodyPr wrap="square" rtlCol="0">
            <a:spAutoFit/>
          </a:bodyPr>
          <a:lstStyle/>
          <a:p>
            <a:r>
              <a:rPr lang="en-US" sz="1600" b="1">
                <a:solidFill>
                  <a:srgbClr val="0070C0"/>
                </a:solidFill>
                <a:latin typeface="Georgia" panose="02040502050405020303" pitchFamily="18" charset="0"/>
              </a:rPr>
              <a:t>Decision Variables:</a:t>
            </a:r>
          </a:p>
          <a:p>
            <a:r>
              <a:rPr lang="en-US" sz="1600">
                <a:latin typeface="Georgia" panose="02040502050405020303" pitchFamily="18" charset="0"/>
              </a:rPr>
              <a:t>List of X</a:t>
            </a:r>
            <a:r>
              <a:rPr lang="en-US" sz="1600" baseline="-25000">
                <a:latin typeface="Georgia" panose="02040502050405020303" pitchFamily="18" charset="0"/>
              </a:rPr>
              <a:t>i</a:t>
            </a:r>
            <a:r>
              <a:rPr lang="en-US" sz="1600">
                <a:latin typeface="Georgia" panose="02040502050405020303" pitchFamily="18" charset="0"/>
              </a:rPr>
              <a:t> to include to form PPG bundle.									</a:t>
            </a:r>
            <a:r>
              <a:rPr lang="en-US" sz="1600" i="1">
                <a:latin typeface="Georgia" panose="02040502050405020303" pitchFamily="18" charset="0"/>
              </a:rPr>
              <a:t>X</a:t>
            </a:r>
            <a:r>
              <a:rPr lang="en-US" sz="1600" i="1" baseline="-25000">
                <a:latin typeface="Georgia" panose="02040502050405020303" pitchFamily="18" charset="0"/>
              </a:rPr>
              <a:t>i</a:t>
            </a:r>
            <a:r>
              <a:rPr lang="en-US" sz="1600" i="1">
                <a:latin typeface="Georgia" panose="02040502050405020303" pitchFamily="18" charset="0"/>
              </a:rPr>
              <a:t> is individual product</a:t>
            </a:r>
          </a:p>
        </p:txBody>
      </p:sp>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33E34035-C00A-4988-93B1-1F2B9DB94F89}"/>
                  </a:ext>
                </a:extLst>
              </p:cNvPr>
              <p:cNvSpPr txBox="1"/>
              <p:nvPr/>
            </p:nvSpPr>
            <p:spPr>
              <a:xfrm>
                <a:off x="625964" y="2864997"/>
                <a:ext cx="11285061" cy="3389518"/>
              </a:xfrm>
              <a:prstGeom prst="rect">
                <a:avLst/>
              </a:prstGeom>
              <a:noFill/>
            </p:spPr>
            <p:txBody>
              <a:bodyPr wrap="square" rtlCol="0">
                <a:spAutoFit/>
              </a:bodyPr>
              <a:lstStyle/>
              <a:p>
                <a:endParaRPr lang="en-US" sz="1600" b="1">
                  <a:solidFill>
                    <a:srgbClr val="0070C0"/>
                  </a:solidFill>
                  <a:latin typeface="Georgia" panose="02040502050405020303" pitchFamily="18" charset="0"/>
                </a:endParaRPr>
              </a:p>
              <a:p>
                <a:r>
                  <a:rPr lang="en-US" sz="1600" b="1">
                    <a:solidFill>
                      <a:srgbClr val="0070C0"/>
                    </a:solidFill>
                    <a:latin typeface="Georgia" panose="02040502050405020303" pitchFamily="18" charset="0"/>
                  </a:rPr>
                  <a:t>Constraints:</a:t>
                </a:r>
              </a:p>
              <a:p>
                <a:endParaRPr lang="en-US" sz="1600" b="1" i="1">
                  <a:latin typeface="Georgia" panose="02040502050405020303" pitchFamily="18" charset="0"/>
                </a:endParaRPr>
              </a:p>
              <a:p>
                <a:pPr marL="342900" indent="-342900">
                  <a:buAutoNum type="arabicPeriod"/>
                </a:pPr>
                <a:r>
                  <a:rPr lang="en-US" i="1">
                    <a:latin typeface="Georgia" panose="02040502050405020303" pitchFamily="18" charset="0"/>
                  </a:rPr>
                  <a:t>2 ≤ n(X</a:t>
                </a:r>
                <a:r>
                  <a:rPr lang="en-US" i="1" baseline="-25000">
                    <a:latin typeface="Georgia" panose="02040502050405020303" pitchFamily="18" charset="0"/>
                  </a:rPr>
                  <a:t>i</a:t>
                </a:r>
                <a:r>
                  <a:rPr lang="en-US" i="1">
                    <a:latin typeface="Georgia" panose="02040502050405020303" pitchFamily="18" charset="0"/>
                  </a:rPr>
                  <a:t>) ≤ 4</a:t>
                </a:r>
                <a:endParaRPr lang="en-US" sz="2000" i="1">
                  <a:latin typeface="Georgia" panose="02040502050405020303" pitchFamily="18" charset="0"/>
                </a:endParaRPr>
              </a:p>
              <a:p>
                <a:pPr marL="342900" indent="-342900">
                  <a:buAutoNum type="arabicPeriod"/>
                </a:pPr>
                <a:endParaRPr lang="en-US" sz="1600" i="1">
                  <a:latin typeface="Georgia" panose="02040502050405020303" pitchFamily="18" charset="0"/>
                </a:endParaRPr>
              </a:p>
              <a:p>
                <a:pPr marL="342900" indent="-342900">
                  <a:buAutoNum type="arabicPeriod"/>
                </a:pPr>
                <a:r>
                  <a:rPr lang="en-US" i="1">
                    <a:latin typeface="Georgia" panose="02040502050405020303" pitchFamily="18" charset="0"/>
                  </a:rPr>
                  <a:t>X</a:t>
                </a:r>
                <a:r>
                  <a:rPr lang="en-US" i="1" baseline="-25000">
                    <a:latin typeface="Georgia" panose="02040502050405020303" pitchFamily="18" charset="0"/>
                  </a:rPr>
                  <a:t>i</a:t>
                </a:r>
                <a:r>
                  <a:rPr lang="en-US" i="1">
                    <a:latin typeface="Georgia" panose="02040502050405020303" pitchFamily="18" charset="0"/>
                  </a:rPr>
                  <a:t> = {0,1}</a:t>
                </a:r>
                <a:endParaRPr lang="en-US" sz="2000" i="1">
                  <a:latin typeface="Georgia" panose="02040502050405020303" pitchFamily="18" charset="0"/>
                </a:endParaRPr>
              </a:p>
              <a:p>
                <a:pPr marL="342900" indent="-342900">
                  <a:buAutoNum type="arabicPeriod"/>
                </a:pPr>
                <a:endParaRPr lang="en-US" sz="1600" i="1">
                  <a:latin typeface="Georgia" panose="02040502050405020303" pitchFamily="18" charset="0"/>
                </a:endParaRPr>
              </a:p>
              <a:p>
                <a:pPr marL="342900" indent="-342900">
                  <a:buAutoNum type="arabicPeriod"/>
                </a:pPr>
                <a14:m>
                  <m:oMath xmlns:m="http://schemas.openxmlformats.org/officeDocument/2006/math">
                    <m:nary>
                      <m:naryPr>
                        <m:chr m:val="∑"/>
                        <m:limLoc m:val="undOvr"/>
                        <m:grow m:val="on"/>
                        <m:ctrlPr>
                          <a:rPr lang="en-US" i="1" dirty="0" smtClean="0">
                            <a:latin typeface="Cambria Math" panose="02040503050406030204" pitchFamily="18" charset="0"/>
                          </a:rPr>
                        </m:ctrlPr>
                      </m:naryPr>
                      <m:sub>
                        <m:r>
                          <a:rPr lang="en-US" b="0" i="1" dirty="0" smtClean="0">
                            <a:latin typeface="Cambria Math" panose="02040503050406030204" pitchFamily="18" charset="0"/>
                          </a:rPr>
                          <m:t>𝑖</m:t>
                        </m:r>
                        <m:r>
                          <a:rPr lang="en-US" b="0" i="1" dirty="0" smtClean="0">
                            <a:latin typeface="Cambria Math" panose="02040503050406030204" pitchFamily="18" charset="0"/>
                          </a:rPr>
                          <m:t>=1</m:t>
                        </m:r>
                      </m:sub>
                      <m:sup>
                        <m:r>
                          <a:rPr lang="en-US" b="0" i="1" dirty="0" smtClean="0">
                            <a:latin typeface="Cambria Math" panose="02040503050406030204" pitchFamily="18" charset="0"/>
                          </a:rPr>
                          <m:t>𝑛</m:t>
                        </m:r>
                      </m:sup>
                      <m:e>
                        <m:r>
                          <a:rPr lang="en-US" b="0" i="1" dirty="0" smtClean="0">
                            <a:latin typeface="Cambria Math" panose="02040503050406030204" pitchFamily="18" charset="0"/>
                          </a:rPr>
                          <m:t>𝑃</m:t>
                        </m:r>
                        <m:d>
                          <m:dPr>
                            <m:ctrlPr>
                              <a:rPr lang="en-US" i="1" dirty="0" smtClean="0">
                                <a:latin typeface="Cambria Math" panose="02040503050406030204" pitchFamily="18" charset="0"/>
                              </a:rPr>
                            </m:ctrlPr>
                          </m:dPr>
                          <m:e>
                            <m:sSub>
                              <m:sSubPr>
                                <m:ctrlPr>
                                  <a:rPr lang="en-US" i="1" dirty="0" smtClean="0">
                                    <a:latin typeface="Cambria Math" panose="02040503050406030204" pitchFamily="18" charset="0"/>
                                  </a:rPr>
                                </m:ctrlPr>
                              </m:sSubPr>
                              <m:e>
                                <m:r>
                                  <a:rPr lang="en-US" b="0" i="1" dirty="0" smtClean="0">
                                    <a:latin typeface="Cambria Math" panose="02040503050406030204" pitchFamily="18" charset="0"/>
                                  </a:rPr>
                                  <m:t>𝑋</m:t>
                                </m:r>
                              </m:e>
                              <m:sub>
                                <m:r>
                                  <a:rPr lang="en-US" b="0" i="1" dirty="0" smtClean="0">
                                    <a:latin typeface="Cambria Math" panose="02040503050406030204" pitchFamily="18" charset="0"/>
                                  </a:rPr>
                                  <m:t>𝑖</m:t>
                                </m:r>
                              </m:sub>
                            </m:sSub>
                          </m:e>
                        </m:d>
                      </m:e>
                    </m:nary>
                    <m:r>
                      <a:rPr lang="en-US" b="0" i="1" dirty="0" smtClean="0">
                        <a:latin typeface="Cambria Math" panose="02040503050406030204" pitchFamily="18" charset="0"/>
                      </a:rPr>
                      <m:t>≤</m:t>
                    </m:r>
                    <m:f>
                      <m:fPr>
                        <m:ctrlPr>
                          <a:rPr lang="en-US" i="1" dirty="0" smtClean="0">
                            <a:latin typeface="Cambria Math" panose="02040503050406030204" pitchFamily="18" charset="0"/>
                          </a:rPr>
                        </m:ctrlPr>
                      </m:fPr>
                      <m:num>
                        <m:nary>
                          <m:naryPr>
                            <m:chr m:val="∑"/>
                            <m:limLoc m:val="undOvr"/>
                            <m:grow m:val="on"/>
                            <m:ctrlPr>
                              <a:rPr lang="en-US" i="1" dirty="0" smtClean="0">
                                <a:latin typeface="Cambria Math" panose="02040503050406030204" pitchFamily="18" charset="0"/>
                              </a:rPr>
                            </m:ctrlPr>
                          </m:naryPr>
                          <m:sub>
                            <m:r>
                              <a:rPr lang="en-US" b="0" i="1" dirty="0" smtClean="0">
                                <a:latin typeface="Cambria Math" panose="02040503050406030204" pitchFamily="18" charset="0"/>
                              </a:rPr>
                              <m:t>𝑗</m:t>
                            </m:r>
                            <m:r>
                              <a:rPr lang="en-US" b="0" i="1" dirty="0" smtClean="0">
                                <a:latin typeface="Cambria Math" panose="02040503050406030204" pitchFamily="18" charset="0"/>
                              </a:rPr>
                              <m:t>=1</m:t>
                            </m:r>
                          </m:sub>
                          <m:sup>
                            <m:r>
                              <a:rPr lang="en-US" b="0" i="1" dirty="0" smtClean="0">
                                <a:latin typeface="Cambria Math" panose="02040503050406030204" pitchFamily="18" charset="0"/>
                              </a:rPr>
                              <m:t>𝑁</m:t>
                            </m:r>
                          </m:sup>
                          <m:e>
                            <m:r>
                              <a:rPr lang="en-US" b="0" i="1" dirty="0" smtClean="0">
                                <a:latin typeface="Cambria Math" panose="02040503050406030204" pitchFamily="18" charset="0"/>
                              </a:rPr>
                              <m:t>𝑃</m:t>
                            </m:r>
                            <m:d>
                              <m:dPr>
                                <m:ctrlPr>
                                  <a:rPr lang="en-US" i="1" dirty="0" smtClean="0">
                                    <a:latin typeface="Cambria Math" panose="02040503050406030204" pitchFamily="18" charset="0"/>
                                  </a:rPr>
                                </m:ctrlPr>
                              </m:dPr>
                              <m:e>
                                <m:sSub>
                                  <m:sSubPr>
                                    <m:ctrlPr>
                                      <a:rPr lang="en-US" i="1" dirty="0" smtClean="0">
                                        <a:latin typeface="Cambria Math" panose="02040503050406030204" pitchFamily="18" charset="0"/>
                                      </a:rPr>
                                    </m:ctrlPr>
                                  </m:sSubPr>
                                  <m:e>
                                    <m:r>
                                      <a:rPr lang="en-US" b="0" i="1" dirty="0" smtClean="0">
                                        <a:latin typeface="Cambria Math" panose="02040503050406030204" pitchFamily="18" charset="0"/>
                                      </a:rPr>
                                      <m:t>𝑋</m:t>
                                    </m:r>
                                  </m:e>
                                  <m:sub>
                                    <m:r>
                                      <a:rPr lang="en-US" b="0" i="1" dirty="0" smtClean="0">
                                        <a:latin typeface="Cambria Math" panose="02040503050406030204" pitchFamily="18" charset="0"/>
                                      </a:rPr>
                                      <m:t>𝑗</m:t>
                                    </m:r>
                                  </m:sub>
                                </m:sSub>
                              </m:e>
                            </m:d>
                          </m:e>
                        </m:nary>
                      </m:num>
                      <m:den>
                        <m:r>
                          <a:rPr lang="en-US" b="0" i="1" dirty="0" smtClean="0">
                            <a:latin typeface="Cambria Math" panose="02040503050406030204" pitchFamily="18" charset="0"/>
                          </a:rPr>
                          <m:t>𝑁</m:t>
                        </m:r>
                      </m:den>
                    </m:f>
                    <m:r>
                      <a:rPr lang="en-US" b="0" i="1" dirty="0" smtClean="0">
                        <a:latin typeface="Cambria Math" panose="02040503050406030204" pitchFamily="18" charset="0"/>
                      </a:rPr>
                      <m:t>∗</m:t>
                    </m:r>
                    <m:r>
                      <a:rPr lang="en-US" b="0" i="1" dirty="0" smtClean="0">
                        <a:latin typeface="Cambria Math" panose="02040503050406030204" pitchFamily="18" charset="0"/>
                      </a:rPr>
                      <m:t>𝑛</m:t>
                    </m:r>
                    <m:d>
                      <m:dPr>
                        <m:ctrlPr>
                          <a:rPr lang="en-US" i="1" dirty="0" smtClean="0">
                            <a:latin typeface="Cambria Math" panose="02040503050406030204" pitchFamily="18" charset="0"/>
                          </a:rPr>
                        </m:ctrlPr>
                      </m:dPr>
                      <m:e>
                        <m:sSub>
                          <m:sSubPr>
                            <m:ctrlPr>
                              <a:rPr lang="en-US" i="1" dirty="0" smtClean="0">
                                <a:latin typeface="Cambria Math" panose="02040503050406030204" pitchFamily="18" charset="0"/>
                              </a:rPr>
                            </m:ctrlPr>
                          </m:sSubPr>
                          <m:e>
                            <m:r>
                              <a:rPr lang="en-US" b="0" i="1" dirty="0" smtClean="0">
                                <a:latin typeface="Cambria Math" panose="02040503050406030204" pitchFamily="18" charset="0"/>
                              </a:rPr>
                              <m:t>𝑋</m:t>
                            </m:r>
                          </m:e>
                          <m:sub>
                            <m:r>
                              <a:rPr lang="en-US" b="0" i="1" dirty="0" smtClean="0">
                                <a:latin typeface="Cambria Math" panose="02040503050406030204" pitchFamily="18" charset="0"/>
                              </a:rPr>
                              <m:t>𝑖</m:t>
                            </m:r>
                          </m:sub>
                        </m:sSub>
                      </m:e>
                    </m:d>
                  </m:oMath>
                </a14:m>
                <a:endParaRPr lang="en-US" sz="1600" i="1">
                  <a:latin typeface="Georgia" panose="02040502050405020303" pitchFamily="18" charset="0"/>
                </a:endParaRPr>
              </a:p>
              <a:p>
                <a:pPr marL="342900" indent="-342900">
                  <a:buAutoNum type="arabicPeriod"/>
                </a:pPr>
                <a:endParaRPr lang="en-US" sz="1600" i="1">
                  <a:latin typeface="Georgia" panose="02040502050405020303" pitchFamily="18" charset="0"/>
                </a:endParaRPr>
              </a:p>
              <a:p>
                <a:pPr marL="342900" indent="-342900">
                  <a:buAutoNum type="arabicPeriod"/>
                </a:pPr>
                <a14:m>
                  <m:oMath xmlns:m="http://schemas.openxmlformats.org/officeDocument/2006/math">
                    <m:nary>
                      <m:naryPr>
                        <m:chr m:val="∑"/>
                        <m:limLoc m:val="undOvr"/>
                        <m:grow m:val="on"/>
                        <m:ctrlPr>
                          <a:rPr lang="en-US" sz="1600" i="1" dirty="0">
                            <a:latin typeface="Cambria Math" panose="02040503050406030204" pitchFamily="18" charset="0"/>
                          </a:rPr>
                        </m:ctrlPr>
                      </m:naryPr>
                      <m:sub>
                        <m:r>
                          <a:rPr lang="en-US" sz="1600" b="0" i="1" dirty="0" smtClean="0">
                            <a:latin typeface="Cambria Math" panose="02040503050406030204" pitchFamily="18" charset="0"/>
                          </a:rPr>
                          <m:t>𝑖</m:t>
                        </m:r>
                        <m:r>
                          <a:rPr lang="en-US" sz="1600" b="0" i="1" dirty="0" smtClean="0">
                            <a:latin typeface="Cambria Math" panose="02040503050406030204" pitchFamily="18" charset="0"/>
                          </a:rPr>
                          <m:t>=1</m:t>
                        </m:r>
                      </m:sub>
                      <m:sup>
                        <m:r>
                          <a:rPr lang="en-US" sz="1600" b="0" i="1" dirty="0" smtClean="0">
                            <a:latin typeface="Cambria Math" panose="02040503050406030204" pitchFamily="18" charset="0"/>
                          </a:rPr>
                          <m:t>𝑛</m:t>
                        </m:r>
                      </m:sup>
                      <m:e>
                        <m:r>
                          <a:rPr lang="en-US" sz="1600" b="0" i="1" dirty="0" smtClean="0">
                            <a:latin typeface="Cambria Math" panose="02040503050406030204" pitchFamily="18" charset="0"/>
                          </a:rPr>
                          <m:t>𝑄</m:t>
                        </m:r>
                        <m:d>
                          <m:dPr>
                            <m:ctrlPr>
                              <a:rPr lang="en-US" sz="1600" i="1" dirty="0">
                                <a:latin typeface="Cambria Math" panose="02040503050406030204" pitchFamily="18" charset="0"/>
                              </a:rPr>
                            </m:ctrlPr>
                          </m:dPr>
                          <m:e>
                            <m:sSub>
                              <m:sSubPr>
                                <m:ctrlPr>
                                  <a:rPr lang="en-US" sz="1600" i="1" dirty="0" smtClean="0">
                                    <a:latin typeface="Cambria Math" panose="02040503050406030204" pitchFamily="18" charset="0"/>
                                  </a:rPr>
                                </m:ctrlPr>
                              </m:sSubPr>
                              <m:e>
                                <m:r>
                                  <a:rPr lang="en-US" sz="1600" b="0" i="1" dirty="0" smtClean="0">
                                    <a:latin typeface="Cambria Math" panose="02040503050406030204" pitchFamily="18" charset="0"/>
                                  </a:rPr>
                                  <m:t>𝑋</m:t>
                                </m:r>
                              </m:e>
                              <m:sub>
                                <m:r>
                                  <a:rPr lang="en-US" sz="1600" b="0" i="1" dirty="0" smtClean="0">
                                    <a:latin typeface="Cambria Math" panose="02040503050406030204" pitchFamily="18" charset="0"/>
                                  </a:rPr>
                                  <m:t>𝑖</m:t>
                                </m:r>
                              </m:sub>
                            </m:sSub>
                          </m:e>
                        </m:d>
                        <m:r>
                          <a:rPr lang="en-US" sz="1600" b="0" i="1" dirty="0" smtClean="0">
                            <a:latin typeface="Cambria Math" panose="02040503050406030204" pitchFamily="18" charset="0"/>
                          </a:rPr>
                          <m:t> ∗</m:t>
                        </m:r>
                        <m:r>
                          <a:rPr lang="en-US" sz="1600" b="0" i="1" dirty="0" smtClean="0">
                            <a:latin typeface="Cambria Math" panose="02040503050406030204" pitchFamily="18" charset="0"/>
                          </a:rPr>
                          <m:t>𝐶𝑜𝑟𝑟</m:t>
                        </m:r>
                        <m:r>
                          <a:rPr lang="en-US" sz="1600" b="0" i="1" dirty="0" smtClean="0">
                            <a:latin typeface="Cambria Math" panose="02040503050406030204" pitchFamily="18" charset="0"/>
                          </a:rPr>
                          <m:t>(</m:t>
                        </m:r>
                        <m:sSub>
                          <m:sSubPr>
                            <m:ctrlPr>
                              <a:rPr lang="en-US" sz="1600" i="1" dirty="0">
                                <a:latin typeface="Cambria Math" panose="02040503050406030204" pitchFamily="18" charset="0"/>
                              </a:rPr>
                            </m:ctrlPr>
                          </m:sSubPr>
                          <m:e>
                            <m:r>
                              <a:rPr lang="en-US" sz="1600" i="1" dirty="0">
                                <a:latin typeface="Cambria Math" panose="02040503050406030204" pitchFamily="18" charset="0"/>
                              </a:rPr>
                              <m:t>𝑋</m:t>
                            </m:r>
                          </m:e>
                          <m:sub>
                            <m:r>
                              <a:rPr lang="en-US" sz="1600" i="1" dirty="0">
                                <a:latin typeface="Cambria Math" panose="02040503050406030204" pitchFamily="18" charset="0"/>
                              </a:rPr>
                              <m:t>𝑖</m:t>
                            </m:r>
                          </m:sub>
                        </m:sSub>
                        <m:r>
                          <a:rPr lang="en-US" sz="1600" b="0" i="1" baseline="-25000" dirty="0" smtClean="0">
                            <a:latin typeface="Cambria Math" panose="02040503050406030204" pitchFamily="18" charset="0"/>
                          </a:rPr>
                          <m:t>,</m:t>
                        </m:r>
                        <m:r>
                          <a:rPr lang="en-US" sz="1600" b="0" i="1" baseline="-25000" dirty="0" smtClean="0">
                            <a:latin typeface="Cambria Math" panose="02040503050406030204" pitchFamily="18" charset="0"/>
                          </a:rPr>
                          <m:t>𝑛</m:t>
                        </m:r>
                        <m:r>
                          <a:rPr lang="en-US" sz="1600" b="0" i="1" dirty="0" smtClean="0">
                            <a:latin typeface="Cambria Math" panose="02040503050406030204" pitchFamily="18" charset="0"/>
                          </a:rPr>
                          <m:t>)</m:t>
                        </m:r>
                      </m:e>
                    </m:nary>
                    <m:r>
                      <a:rPr lang="en-US" sz="1600" b="0" i="1" dirty="0" smtClean="0">
                        <a:latin typeface="Cambria Math" panose="02040503050406030204" pitchFamily="18" charset="0"/>
                      </a:rPr>
                      <m:t>≥</m:t>
                    </m:r>
                    <m:f>
                      <m:fPr>
                        <m:ctrlPr>
                          <a:rPr lang="en-US" sz="1600" i="1" dirty="0">
                            <a:latin typeface="Cambria Math" panose="02040503050406030204" pitchFamily="18" charset="0"/>
                          </a:rPr>
                        </m:ctrlPr>
                      </m:fPr>
                      <m:num>
                        <m:nary>
                          <m:naryPr>
                            <m:chr m:val="∑"/>
                            <m:limLoc m:val="undOvr"/>
                            <m:grow m:val="on"/>
                            <m:ctrlPr>
                              <a:rPr lang="en-US" sz="1600" i="1" dirty="0">
                                <a:latin typeface="Cambria Math" panose="02040503050406030204" pitchFamily="18" charset="0"/>
                              </a:rPr>
                            </m:ctrlPr>
                          </m:naryPr>
                          <m:sub>
                            <m:r>
                              <a:rPr lang="en-US" sz="1600" b="0" i="1" dirty="0" smtClean="0">
                                <a:latin typeface="Cambria Math" panose="02040503050406030204" pitchFamily="18" charset="0"/>
                              </a:rPr>
                              <m:t>𝑗</m:t>
                            </m:r>
                            <m:r>
                              <a:rPr lang="en-US" sz="1600" b="0" i="1" dirty="0" smtClean="0">
                                <a:latin typeface="Cambria Math" panose="02040503050406030204" pitchFamily="18" charset="0"/>
                              </a:rPr>
                              <m:t>=1</m:t>
                            </m:r>
                          </m:sub>
                          <m:sup>
                            <m:r>
                              <a:rPr lang="en-US" sz="1600" b="0" i="1" dirty="0" smtClean="0">
                                <a:latin typeface="Cambria Math" panose="02040503050406030204" pitchFamily="18" charset="0"/>
                              </a:rPr>
                              <m:t>𝑁</m:t>
                            </m:r>
                          </m:sup>
                          <m:e>
                            <m:r>
                              <a:rPr lang="en-US" sz="1600" b="0" i="1" dirty="0" smtClean="0">
                                <a:latin typeface="Cambria Math" panose="02040503050406030204" pitchFamily="18" charset="0"/>
                              </a:rPr>
                              <m:t>𝑄</m:t>
                            </m:r>
                            <m:d>
                              <m:dPr>
                                <m:ctrlPr>
                                  <a:rPr lang="en-US" sz="1600" i="1" dirty="0">
                                    <a:latin typeface="Cambria Math" panose="02040503050406030204" pitchFamily="18" charset="0"/>
                                  </a:rPr>
                                </m:ctrlPr>
                              </m:dPr>
                              <m:e>
                                <m:sSub>
                                  <m:sSubPr>
                                    <m:ctrlPr>
                                      <a:rPr lang="en-US" sz="1600" i="1" dirty="0">
                                        <a:latin typeface="Cambria Math" panose="02040503050406030204" pitchFamily="18" charset="0"/>
                                      </a:rPr>
                                    </m:ctrlPr>
                                  </m:sSubPr>
                                  <m:e>
                                    <m:r>
                                      <a:rPr lang="en-US" sz="1600" b="0" i="1" dirty="0" smtClean="0">
                                        <a:latin typeface="Cambria Math" panose="02040503050406030204" pitchFamily="18" charset="0"/>
                                      </a:rPr>
                                      <m:t>𝑋</m:t>
                                    </m:r>
                                  </m:e>
                                  <m:sub>
                                    <m:r>
                                      <a:rPr lang="en-US" sz="1600" b="0" i="1" dirty="0" smtClean="0">
                                        <a:latin typeface="Cambria Math" panose="02040503050406030204" pitchFamily="18" charset="0"/>
                                      </a:rPr>
                                      <m:t>𝑗</m:t>
                                    </m:r>
                                  </m:sub>
                                </m:sSub>
                              </m:e>
                            </m:d>
                          </m:e>
                        </m:nary>
                      </m:num>
                      <m:den>
                        <m:r>
                          <a:rPr lang="en-US" sz="1600" b="0" i="1" dirty="0" smtClean="0">
                            <a:latin typeface="Cambria Math" panose="02040503050406030204" pitchFamily="18" charset="0"/>
                          </a:rPr>
                          <m:t>𝑁</m:t>
                        </m:r>
                      </m:den>
                    </m:f>
                    <m:r>
                      <a:rPr lang="en-US" sz="1600" b="0" i="1" dirty="0" smtClean="0">
                        <a:latin typeface="Cambria Math" panose="02040503050406030204" pitchFamily="18" charset="0"/>
                      </a:rPr>
                      <m:t>∗2</m:t>
                    </m:r>
                    <m:r>
                      <a:rPr lang="en-US" sz="1600" b="0" i="1" dirty="0" smtClean="0">
                        <a:latin typeface="Cambria Math" panose="02040503050406030204" pitchFamily="18" charset="0"/>
                      </a:rPr>
                      <m:t>𝑛</m:t>
                    </m:r>
                    <m:d>
                      <m:dPr>
                        <m:ctrlPr>
                          <a:rPr lang="en-US" sz="1600" i="1" dirty="0">
                            <a:latin typeface="Cambria Math" panose="02040503050406030204" pitchFamily="18" charset="0"/>
                          </a:rPr>
                        </m:ctrlPr>
                      </m:dPr>
                      <m:e>
                        <m:sSub>
                          <m:sSubPr>
                            <m:ctrlPr>
                              <a:rPr lang="en-US" sz="1600" i="1" dirty="0">
                                <a:latin typeface="Cambria Math" panose="02040503050406030204" pitchFamily="18" charset="0"/>
                              </a:rPr>
                            </m:ctrlPr>
                          </m:sSubPr>
                          <m:e>
                            <m:r>
                              <a:rPr lang="en-US" sz="1600" b="0" i="1" dirty="0" smtClean="0">
                                <a:latin typeface="Cambria Math" panose="02040503050406030204" pitchFamily="18" charset="0"/>
                              </a:rPr>
                              <m:t>𝑋</m:t>
                            </m:r>
                          </m:e>
                          <m:sub>
                            <m:r>
                              <a:rPr lang="en-US" sz="1600" b="0" i="1" dirty="0" smtClean="0">
                                <a:latin typeface="Cambria Math" panose="02040503050406030204" pitchFamily="18" charset="0"/>
                              </a:rPr>
                              <m:t>𝑖</m:t>
                            </m:r>
                          </m:sub>
                        </m:sSub>
                      </m:e>
                    </m:d>
                  </m:oMath>
                </a14:m>
                <a:endParaRPr lang="en-US" sz="1600" i="1">
                  <a:latin typeface="Georgia" panose="02040502050405020303" pitchFamily="18" charset="0"/>
                </a:endParaRPr>
              </a:p>
            </p:txBody>
          </p:sp>
        </mc:Choice>
        <mc:Fallback xmlns="">
          <p:sp>
            <p:nvSpPr>
              <p:cNvPr id="6" name="TextBox 5">
                <a:extLst>
                  <a:ext uri="{FF2B5EF4-FFF2-40B4-BE49-F238E27FC236}">
                    <a16:creationId xmlns:a16="http://schemas.microsoft.com/office/drawing/2014/main" id="{33E34035-C00A-4988-93B1-1F2B9DB94F89}"/>
                  </a:ext>
                </a:extLst>
              </p:cNvPr>
              <p:cNvSpPr txBox="1">
                <a:spLocks noRot="1" noChangeAspect="1" noMove="1" noResize="1" noEditPoints="1" noAdjustHandles="1" noChangeArrowheads="1" noChangeShapeType="1" noTextEdit="1"/>
              </p:cNvSpPr>
              <p:nvPr/>
            </p:nvSpPr>
            <p:spPr>
              <a:xfrm>
                <a:off x="625964" y="2864997"/>
                <a:ext cx="11285061" cy="3389518"/>
              </a:xfrm>
              <a:prstGeom prst="rect">
                <a:avLst/>
              </a:prstGeom>
              <a:blipFill>
                <a:blip r:embed="rId3"/>
                <a:stretch>
                  <a:fillRect l="-378"/>
                </a:stretch>
              </a:blipFill>
            </p:spPr>
            <p:txBody>
              <a:bodyPr/>
              <a:lstStyle/>
              <a:p>
                <a:r>
                  <a:rPr lang="en-US">
                    <a:noFill/>
                  </a:rPr>
                  <a:t> </a:t>
                </a:r>
              </a:p>
            </p:txBody>
          </p:sp>
        </mc:Fallback>
      </mc:AlternateContent>
      <p:sp>
        <p:nvSpPr>
          <p:cNvPr id="7" name="TextBox 6">
            <a:extLst>
              <a:ext uri="{FF2B5EF4-FFF2-40B4-BE49-F238E27FC236}">
                <a16:creationId xmlns:a16="http://schemas.microsoft.com/office/drawing/2014/main" id="{5EEAF805-A690-4EA3-8DD8-9AFC8002DEB1}"/>
              </a:ext>
            </a:extLst>
          </p:cNvPr>
          <p:cNvSpPr txBox="1"/>
          <p:nvPr/>
        </p:nvSpPr>
        <p:spPr>
          <a:xfrm>
            <a:off x="233082" y="251012"/>
            <a:ext cx="10941978" cy="461665"/>
          </a:xfrm>
          <a:prstGeom prst="rect">
            <a:avLst/>
          </a:prstGeom>
          <a:noFill/>
        </p:spPr>
        <p:txBody>
          <a:bodyPr wrap="square" rtlCol="0">
            <a:spAutoFit/>
          </a:bodyPr>
          <a:lstStyle/>
          <a:p>
            <a:r>
              <a:rPr lang="en-US" sz="2400" b="1" cap="all">
                <a:latin typeface="Georgia" panose="02040502050405020303" pitchFamily="18" charset="0"/>
              </a:rPr>
              <a:t>Framing of Optimization Problem</a:t>
            </a:r>
            <a:endParaRPr lang="en-US" sz="3200" b="1" cap="all">
              <a:latin typeface="Georgia" panose="02040502050405020303" pitchFamily="18" charset="0"/>
            </a:endParaRPr>
          </a:p>
        </p:txBody>
      </p:sp>
      <p:sp>
        <p:nvSpPr>
          <p:cNvPr id="8" name="Rectangle 7">
            <a:extLst>
              <a:ext uri="{FF2B5EF4-FFF2-40B4-BE49-F238E27FC236}">
                <a16:creationId xmlns:a16="http://schemas.microsoft.com/office/drawing/2014/main" id="{D2173514-11C1-4C6A-BE24-F4C22D434CF0}"/>
              </a:ext>
            </a:extLst>
          </p:cNvPr>
          <p:cNvSpPr/>
          <p:nvPr/>
        </p:nvSpPr>
        <p:spPr>
          <a:xfrm>
            <a:off x="400050" y="6812280"/>
            <a:ext cx="11791579" cy="4572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a:t>
            </a:r>
          </a:p>
        </p:txBody>
      </p:sp>
      <p:pic>
        <p:nvPicPr>
          <p:cNvPr id="9" name="Graphic 8" descr="Toothpaste">
            <a:extLst>
              <a:ext uri="{FF2B5EF4-FFF2-40B4-BE49-F238E27FC236}">
                <a16:creationId xmlns:a16="http://schemas.microsoft.com/office/drawing/2014/main" id="{3414CB37-A1B9-4BF0-8B8A-57A3E39A9EDD}"/>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6219692">
            <a:off x="-34366" y="6088478"/>
            <a:ext cx="598153" cy="598153"/>
          </a:xfrm>
          <a:prstGeom prst="rect">
            <a:avLst/>
          </a:prstGeom>
        </p:spPr>
      </p:pic>
      <p:pic>
        <p:nvPicPr>
          <p:cNvPr id="10" name="Graphic 9" descr="Snake">
            <a:extLst>
              <a:ext uri="{FF2B5EF4-FFF2-40B4-BE49-F238E27FC236}">
                <a16:creationId xmlns:a16="http://schemas.microsoft.com/office/drawing/2014/main" id="{E37C0D1C-2939-476A-9E0F-16250201EC06}"/>
              </a:ext>
            </a:extLst>
          </p:cNvPr>
          <p:cNvPicPr>
            <a:picLocks noChangeAspect="1"/>
          </p:cNvPicPr>
          <p:nvPr/>
        </p:nvPicPr>
        <p:blipFill rotWithShape="1">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rcRect l="-2" t="56027" r="47111"/>
          <a:stretch/>
        </p:blipFill>
        <p:spPr>
          <a:xfrm rot="7001259">
            <a:off x="297005" y="6680310"/>
            <a:ext cx="336423" cy="279713"/>
          </a:xfrm>
          <a:prstGeom prst="rect">
            <a:avLst/>
          </a:prstGeom>
        </p:spPr>
      </p:pic>
    </p:spTree>
    <p:extLst>
      <p:ext uri="{BB962C8B-B14F-4D97-AF65-F5344CB8AC3E}">
        <p14:creationId xmlns:p14="http://schemas.microsoft.com/office/powerpoint/2010/main" val="28997874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6"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4" name="TextBox 3">
                <a:extLst>
                  <a:ext uri="{FF2B5EF4-FFF2-40B4-BE49-F238E27FC236}">
                    <a16:creationId xmlns:a16="http://schemas.microsoft.com/office/drawing/2014/main" id="{9CC1E34C-0532-4C10-AF18-4A598D24BE4C}"/>
                  </a:ext>
                </a:extLst>
              </p:cNvPr>
              <p:cNvSpPr txBox="1"/>
              <p:nvPr/>
            </p:nvSpPr>
            <p:spPr>
              <a:xfrm>
                <a:off x="657222" y="917896"/>
                <a:ext cx="11534407" cy="1078052"/>
              </a:xfrm>
              <a:prstGeom prst="rect">
                <a:avLst/>
              </a:prstGeom>
              <a:noFill/>
            </p:spPr>
            <p:txBody>
              <a:bodyPr wrap="square" rtlCol="0">
                <a:spAutoFit/>
              </a:bodyPr>
              <a:lstStyle/>
              <a:p>
                <a:r>
                  <a:rPr lang="en-US" sz="1600" b="1" dirty="0">
                    <a:solidFill>
                      <a:srgbClr val="0070C0"/>
                    </a:solidFill>
                    <a:latin typeface="Georgia" panose="02040502050405020303" pitchFamily="18" charset="0"/>
                  </a:rPr>
                  <a:t>Objective Function:</a:t>
                </a:r>
              </a:p>
              <a:p>
                <a:r>
                  <a:rPr lang="en-US" sz="1600" dirty="0">
                    <a:latin typeface="Georgia" panose="02040502050405020303" pitchFamily="18" charset="0"/>
                  </a:rPr>
                  <a:t>Max Z = </a:t>
                </a:r>
                <a14:m>
                  <m:oMath xmlns:m="http://schemas.openxmlformats.org/officeDocument/2006/math">
                    <m:nary>
                      <m:naryPr>
                        <m:chr m:val="∑"/>
                        <m:ctrlPr>
                          <a:rPr lang="pt-BR" sz="1600" i="1">
                            <a:latin typeface="Cambria Math" panose="02040503050406030204" pitchFamily="18" charset="0"/>
                          </a:rPr>
                        </m:ctrlPr>
                      </m:naryPr>
                      <m:sub>
                        <m:r>
                          <a:rPr lang="en-US" sz="1600" b="0" i="1" smtClean="0">
                            <a:latin typeface="Cambria Math" panose="02040503050406030204" pitchFamily="18" charset="0"/>
                          </a:rPr>
                          <m:t>𝑖</m:t>
                        </m:r>
                        <m:r>
                          <a:rPr lang="pt-BR" sz="1600" i="1">
                            <a:latin typeface="Cambria Math" panose="02040503050406030204" pitchFamily="18" charset="0"/>
                          </a:rPr>
                          <m:t>=</m:t>
                        </m:r>
                        <m:r>
                          <a:rPr lang="en-US" sz="1600" b="0" i="1" smtClean="0">
                            <a:latin typeface="Cambria Math" panose="02040503050406030204" pitchFamily="18" charset="0"/>
                          </a:rPr>
                          <m:t>1</m:t>
                        </m:r>
                      </m:sub>
                      <m:sup>
                        <m:r>
                          <a:rPr lang="pt-BR" sz="1600" i="1">
                            <a:latin typeface="Cambria Math" panose="02040503050406030204" pitchFamily="18" charset="0"/>
                          </a:rPr>
                          <m:t>𝑛</m:t>
                        </m:r>
                      </m:sup>
                      <m:e>
                        <m:d>
                          <m:dPr>
                            <m:begChr m:val="["/>
                            <m:endChr m:val="]"/>
                            <m:ctrlPr>
                              <a:rPr lang="en-US" sz="1600" b="0" i="1" smtClean="0">
                                <a:latin typeface="Cambria Math" panose="02040503050406030204" pitchFamily="18" charset="0"/>
                              </a:rPr>
                            </m:ctrlPr>
                          </m:dPr>
                          <m:e>
                            <m:r>
                              <a:rPr lang="en-US" sz="1600" b="0" i="1" smtClean="0">
                                <a:latin typeface="Cambria Math" panose="02040503050406030204" pitchFamily="18" charset="0"/>
                              </a:rPr>
                              <m:t>𝑃</m:t>
                            </m:r>
                            <m:r>
                              <a:rPr lang="en-US" sz="1600" b="0" i="1" smtClean="0">
                                <a:latin typeface="Cambria Math" panose="02040503050406030204" pitchFamily="18" charset="0"/>
                              </a:rPr>
                              <m:t>(</m:t>
                            </m:r>
                            <m:r>
                              <a:rPr lang="en-US" sz="1600" b="0" i="1" smtClean="0">
                                <a:latin typeface="Cambria Math" panose="02040503050406030204" pitchFamily="18" charset="0"/>
                              </a:rPr>
                              <m:t>𝑋𝑖</m:t>
                            </m:r>
                            <m:r>
                              <a:rPr lang="en-US" sz="1600" b="0" i="1" smtClean="0">
                                <a:latin typeface="Cambria Math" panose="02040503050406030204" pitchFamily="18" charset="0"/>
                              </a:rPr>
                              <m:t>)∗</m:t>
                            </m:r>
                            <m:r>
                              <a:rPr lang="en-US" sz="1600" b="0" i="1" smtClean="0">
                                <a:latin typeface="Cambria Math" panose="02040503050406030204" pitchFamily="18" charset="0"/>
                              </a:rPr>
                              <m:t>𝑄</m:t>
                            </m:r>
                            <m:r>
                              <a:rPr lang="en-US" sz="1600" b="0" i="1" smtClean="0">
                                <a:latin typeface="Cambria Math" panose="02040503050406030204" pitchFamily="18" charset="0"/>
                              </a:rPr>
                              <m:t>(</m:t>
                            </m:r>
                            <m:r>
                              <a:rPr lang="en-US" sz="1600" b="0" i="1" smtClean="0">
                                <a:latin typeface="Cambria Math" panose="02040503050406030204" pitchFamily="18" charset="0"/>
                              </a:rPr>
                              <m:t>𝑋𝑖</m:t>
                            </m:r>
                            <m:r>
                              <a:rPr lang="en-US" sz="1600" b="0" i="1" smtClean="0">
                                <a:latin typeface="Cambria Math" panose="02040503050406030204" pitchFamily="18" charset="0"/>
                              </a:rPr>
                              <m:t>)∗</m:t>
                            </m:r>
                            <m:r>
                              <a:rPr lang="en-US" sz="1600" b="0" i="1" smtClean="0">
                                <a:latin typeface="Cambria Math" panose="02040503050406030204" pitchFamily="18" charset="0"/>
                              </a:rPr>
                              <m:t>𝐷</m:t>
                            </m:r>
                            <m:r>
                              <a:rPr lang="en-US" sz="1600" b="0" i="1" smtClean="0">
                                <a:latin typeface="Cambria Math" panose="02040503050406030204" pitchFamily="18" charset="0"/>
                              </a:rPr>
                              <m:t>(</m:t>
                            </m:r>
                            <m:r>
                              <a:rPr lang="en-US" sz="1600" b="0" i="1" smtClean="0">
                                <a:latin typeface="Cambria Math" panose="02040503050406030204" pitchFamily="18" charset="0"/>
                              </a:rPr>
                              <m:t>𝑋𝑖</m:t>
                            </m:r>
                            <m:r>
                              <a:rPr lang="en-US" sz="1600" b="0" i="1" smtClean="0">
                                <a:latin typeface="Cambria Math" panose="02040503050406030204" pitchFamily="18" charset="0"/>
                              </a:rPr>
                              <m:t>)∗</m:t>
                            </m:r>
                            <m:d>
                              <m:dPr>
                                <m:ctrlPr>
                                  <a:rPr lang="en-US" sz="1600" b="0" i="1" smtClean="0">
                                    <a:latin typeface="Cambria Math" panose="02040503050406030204" pitchFamily="18" charset="0"/>
                                  </a:rPr>
                                </m:ctrlPr>
                              </m:dPr>
                              <m:e>
                                <m:r>
                                  <a:rPr lang="en-US" sz="1600" b="0" i="1" smtClean="0">
                                    <a:latin typeface="Cambria Math" panose="02040503050406030204" pitchFamily="18" charset="0"/>
                                  </a:rPr>
                                  <m:t>1.1</m:t>
                                </m:r>
                              </m:e>
                            </m:d>
                          </m:e>
                        </m:d>
                        <m:r>
                          <a:rPr lang="en-US" sz="1600" b="0" i="1" smtClean="0">
                            <a:latin typeface="Cambria Math" panose="02040503050406030204" pitchFamily="18" charset="0"/>
                          </a:rPr>
                          <m:t>+</m:t>
                        </m:r>
                        <m:d>
                          <m:dPr>
                            <m:begChr m:val="["/>
                            <m:endChr m:val="]"/>
                            <m:ctrlPr>
                              <a:rPr lang="en-US" sz="1600" i="1" smtClean="0">
                                <a:latin typeface="Cambria Math" panose="02040503050406030204" pitchFamily="18" charset="0"/>
                              </a:rPr>
                            </m:ctrlPr>
                          </m:dPr>
                          <m:e>
                            <m:r>
                              <a:rPr lang="en-US" sz="1600" b="0" i="1" smtClean="0">
                                <a:latin typeface="Cambria Math" panose="02040503050406030204" pitchFamily="18" charset="0"/>
                              </a:rPr>
                              <m:t>𝑃</m:t>
                            </m:r>
                            <m:r>
                              <a:rPr lang="en-US" sz="1600" b="0" i="1" smtClean="0">
                                <a:latin typeface="Cambria Math" panose="02040503050406030204" pitchFamily="18" charset="0"/>
                              </a:rPr>
                              <m:t>(</m:t>
                            </m:r>
                            <m:r>
                              <a:rPr lang="en-US" sz="1600" b="0" i="1" smtClean="0">
                                <a:latin typeface="Cambria Math" panose="02040503050406030204" pitchFamily="18" charset="0"/>
                              </a:rPr>
                              <m:t>𝑋𝑖</m:t>
                            </m:r>
                            <m:r>
                              <a:rPr lang="en-US" sz="1600" b="0" i="1" smtClean="0">
                                <a:latin typeface="Cambria Math" panose="02040503050406030204" pitchFamily="18" charset="0"/>
                              </a:rPr>
                              <m:t>)∗</m:t>
                            </m:r>
                            <m:r>
                              <a:rPr lang="en-US" sz="1600" i="1">
                                <a:latin typeface="Cambria Math" panose="02040503050406030204" pitchFamily="18" charset="0"/>
                              </a:rPr>
                              <m:t>𝑄</m:t>
                            </m:r>
                            <m:r>
                              <a:rPr lang="en-US" sz="1600" b="0" i="1" smtClean="0">
                                <a:latin typeface="Cambria Math" panose="02040503050406030204" pitchFamily="18" charset="0"/>
                              </a:rPr>
                              <m:t>(</m:t>
                            </m:r>
                            <m:r>
                              <a:rPr lang="en-US" sz="1600" b="0" i="1" smtClean="0">
                                <a:latin typeface="Cambria Math" panose="02040503050406030204" pitchFamily="18" charset="0"/>
                              </a:rPr>
                              <m:t>𝑋𝑖</m:t>
                            </m:r>
                            <m:r>
                              <a:rPr lang="en-US" sz="1600" b="0" i="1" smtClean="0">
                                <a:latin typeface="Cambria Math" panose="02040503050406030204" pitchFamily="18" charset="0"/>
                              </a:rPr>
                              <m:t>)∗(1−</m:t>
                            </m:r>
                            <m:r>
                              <a:rPr lang="en-US" sz="1600" i="1">
                                <a:latin typeface="Cambria Math" panose="02040503050406030204" pitchFamily="18" charset="0"/>
                              </a:rPr>
                              <m:t>𝐷</m:t>
                            </m:r>
                            <m:r>
                              <a:rPr lang="en-US" sz="1600" b="0" i="1" smtClean="0">
                                <a:latin typeface="Cambria Math" panose="02040503050406030204" pitchFamily="18" charset="0"/>
                              </a:rPr>
                              <m:t>(</m:t>
                            </m:r>
                            <m:r>
                              <a:rPr lang="en-US" sz="1600" b="0" i="1" smtClean="0">
                                <a:latin typeface="Cambria Math" panose="02040503050406030204" pitchFamily="18" charset="0"/>
                              </a:rPr>
                              <m:t>𝑋𝑖</m:t>
                            </m:r>
                            <m:r>
                              <a:rPr lang="en-US" sz="1600" b="0" i="1" smtClean="0">
                                <a:latin typeface="Cambria Math" panose="02040503050406030204" pitchFamily="18" charset="0"/>
                              </a:rPr>
                              <m:t>))</m:t>
                            </m:r>
                          </m:e>
                        </m:d>
                      </m:e>
                    </m:nary>
                  </m:oMath>
                </a14:m>
                <a:r>
                  <a:rPr lang="en-US" sz="1600" dirty="0">
                    <a:latin typeface="Georgia" panose="02040502050405020303" pitchFamily="18" charset="0"/>
                  </a:rPr>
                  <a:t>		</a:t>
                </a:r>
                <a:r>
                  <a:rPr lang="en-US" sz="1600" i="1" dirty="0">
                    <a:latin typeface="Georgia" panose="02040502050405020303" pitchFamily="18" charset="0"/>
                  </a:rPr>
                  <a:t>P(X</a:t>
                </a:r>
                <a:r>
                  <a:rPr lang="en-US" sz="1600" i="1" baseline="-25000" dirty="0">
                    <a:latin typeface="Georgia" panose="02040502050405020303" pitchFamily="18" charset="0"/>
                  </a:rPr>
                  <a:t>i</a:t>
                </a:r>
                <a:r>
                  <a:rPr lang="en-US" sz="1600" i="1" dirty="0">
                    <a:latin typeface="Georgia" panose="02040502050405020303" pitchFamily="18" charset="0"/>
                  </a:rPr>
                  <a:t>) is product sales Price</a:t>
                </a:r>
              </a:p>
              <a:p>
                <a:r>
                  <a:rPr lang="en-US" sz="1600" i="1" dirty="0">
                    <a:latin typeface="Georgia" panose="02040502050405020303" pitchFamily="18" charset="0"/>
                  </a:rPr>
                  <a:t>																Q(X</a:t>
                </a:r>
                <a:r>
                  <a:rPr lang="en-US" sz="1600" i="1" baseline="-25000" dirty="0">
                    <a:latin typeface="Georgia" panose="02040502050405020303" pitchFamily="18" charset="0"/>
                  </a:rPr>
                  <a:t>i</a:t>
                </a:r>
                <a:r>
                  <a:rPr lang="en-US" sz="1600" i="1" dirty="0">
                    <a:latin typeface="Georgia" panose="02040502050405020303" pitchFamily="18" charset="0"/>
                  </a:rPr>
                  <a:t>) is Quantities sold for each Product</a:t>
                </a:r>
              </a:p>
              <a:p>
                <a:r>
                  <a:rPr lang="en-US" sz="1600" i="1" dirty="0">
                    <a:latin typeface="Georgia" panose="02040502050405020303" pitchFamily="18" charset="0"/>
                  </a:rPr>
                  <a:t>																D(X</a:t>
                </a:r>
                <a:r>
                  <a:rPr lang="en-US" sz="1600" i="1" baseline="-25000" dirty="0">
                    <a:latin typeface="Georgia" panose="02040502050405020303" pitchFamily="18" charset="0"/>
                  </a:rPr>
                  <a:t>i</a:t>
                </a:r>
                <a:r>
                  <a:rPr lang="en-US" sz="1600" i="1" dirty="0">
                    <a:latin typeface="Georgia" panose="02040502050405020303" pitchFamily="18" charset="0"/>
                  </a:rPr>
                  <a:t>) is the Decision variable (0 or 1)</a:t>
                </a:r>
                <a:endParaRPr lang="en-US" sz="1600" dirty="0">
                  <a:latin typeface="Georgia" panose="02040502050405020303" pitchFamily="18" charset="0"/>
                </a:endParaRPr>
              </a:p>
            </p:txBody>
          </p:sp>
        </mc:Choice>
        <mc:Fallback xmlns="">
          <p:sp>
            <p:nvSpPr>
              <p:cNvPr id="4" name="TextBox 3">
                <a:extLst>
                  <a:ext uri="{FF2B5EF4-FFF2-40B4-BE49-F238E27FC236}">
                    <a16:creationId xmlns:a16="http://schemas.microsoft.com/office/drawing/2014/main" id="{9CC1E34C-0532-4C10-AF18-4A598D24BE4C}"/>
                  </a:ext>
                </a:extLst>
              </p:cNvPr>
              <p:cNvSpPr txBox="1">
                <a:spLocks noRot="1" noChangeAspect="1" noMove="1" noResize="1" noEditPoints="1" noAdjustHandles="1" noChangeArrowheads="1" noChangeShapeType="1" noTextEdit="1"/>
              </p:cNvSpPr>
              <p:nvPr/>
            </p:nvSpPr>
            <p:spPr>
              <a:xfrm>
                <a:off x="657222" y="917896"/>
                <a:ext cx="11534407" cy="1078052"/>
              </a:xfrm>
              <a:prstGeom prst="rect">
                <a:avLst/>
              </a:prstGeom>
              <a:blipFill>
                <a:blip r:embed="rId2"/>
                <a:stretch>
                  <a:fillRect l="-317" t="-11364" b="-8523"/>
                </a:stretch>
              </a:blipFill>
            </p:spPr>
            <p:txBody>
              <a:bodyPr/>
              <a:lstStyle/>
              <a:p>
                <a:r>
                  <a:rPr lang="en-US">
                    <a:noFill/>
                  </a:rPr>
                  <a:t> </a:t>
                </a:r>
              </a:p>
            </p:txBody>
          </p:sp>
        </mc:Fallback>
      </mc:AlternateContent>
      <p:sp>
        <p:nvSpPr>
          <p:cNvPr id="5" name="TextBox 4">
            <a:extLst>
              <a:ext uri="{FF2B5EF4-FFF2-40B4-BE49-F238E27FC236}">
                <a16:creationId xmlns:a16="http://schemas.microsoft.com/office/drawing/2014/main" id="{F7AF36D1-7478-40B8-87AD-78021C0FD8F0}"/>
              </a:ext>
            </a:extLst>
          </p:cNvPr>
          <p:cNvSpPr txBox="1"/>
          <p:nvPr/>
        </p:nvSpPr>
        <p:spPr>
          <a:xfrm>
            <a:off x="625964" y="2043978"/>
            <a:ext cx="10982325" cy="584775"/>
          </a:xfrm>
          <a:prstGeom prst="rect">
            <a:avLst/>
          </a:prstGeom>
          <a:noFill/>
        </p:spPr>
        <p:txBody>
          <a:bodyPr wrap="square" rtlCol="0">
            <a:spAutoFit/>
          </a:bodyPr>
          <a:lstStyle/>
          <a:p>
            <a:r>
              <a:rPr lang="en-US" sz="1600" b="1">
                <a:solidFill>
                  <a:srgbClr val="0070C0"/>
                </a:solidFill>
                <a:latin typeface="Georgia" panose="02040502050405020303" pitchFamily="18" charset="0"/>
              </a:rPr>
              <a:t>Decision Variables:</a:t>
            </a:r>
          </a:p>
          <a:p>
            <a:r>
              <a:rPr lang="en-US" sz="1600">
                <a:latin typeface="Georgia" panose="02040502050405020303" pitchFamily="18" charset="0"/>
              </a:rPr>
              <a:t>List of X</a:t>
            </a:r>
            <a:r>
              <a:rPr lang="en-US" sz="1600" baseline="-25000">
                <a:latin typeface="Georgia" panose="02040502050405020303" pitchFamily="18" charset="0"/>
              </a:rPr>
              <a:t>i</a:t>
            </a:r>
            <a:r>
              <a:rPr lang="en-US" sz="1600">
                <a:latin typeface="Georgia" panose="02040502050405020303" pitchFamily="18" charset="0"/>
              </a:rPr>
              <a:t> to include to form PPG bundle.									</a:t>
            </a:r>
            <a:r>
              <a:rPr lang="en-US" sz="1600" i="1">
                <a:latin typeface="Georgia" panose="02040502050405020303" pitchFamily="18" charset="0"/>
              </a:rPr>
              <a:t>X</a:t>
            </a:r>
            <a:r>
              <a:rPr lang="en-US" sz="1600" i="1" baseline="-25000">
                <a:latin typeface="Georgia" panose="02040502050405020303" pitchFamily="18" charset="0"/>
              </a:rPr>
              <a:t>i</a:t>
            </a:r>
            <a:r>
              <a:rPr lang="en-US" sz="1600" i="1">
                <a:latin typeface="Georgia" panose="02040502050405020303" pitchFamily="18" charset="0"/>
              </a:rPr>
              <a:t> is individual product</a:t>
            </a:r>
          </a:p>
        </p:txBody>
      </p:sp>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33E34035-C00A-4988-93B1-1F2B9DB94F89}"/>
                  </a:ext>
                </a:extLst>
              </p:cNvPr>
              <p:cNvSpPr txBox="1"/>
              <p:nvPr/>
            </p:nvSpPr>
            <p:spPr>
              <a:xfrm>
                <a:off x="625964" y="2864997"/>
                <a:ext cx="11285061" cy="3481851"/>
              </a:xfrm>
              <a:prstGeom prst="rect">
                <a:avLst/>
              </a:prstGeom>
              <a:noFill/>
            </p:spPr>
            <p:txBody>
              <a:bodyPr wrap="square" rtlCol="0">
                <a:spAutoFit/>
              </a:bodyPr>
              <a:lstStyle/>
              <a:p>
                <a:endParaRPr lang="en-US" sz="1600" b="1" dirty="0">
                  <a:solidFill>
                    <a:srgbClr val="0070C0"/>
                  </a:solidFill>
                  <a:latin typeface="Georgia" panose="02040502050405020303" pitchFamily="18" charset="0"/>
                </a:endParaRPr>
              </a:p>
              <a:p>
                <a:r>
                  <a:rPr lang="en-US" sz="1600" b="1" dirty="0">
                    <a:solidFill>
                      <a:srgbClr val="0070C0"/>
                    </a:solidFill>
                    <a:latin typeface="Georgia" panose="02040502050405020303" pitchFamily="18" charset="0"/>
                  </a:rPr>
                  <a:t>Constraints:</a:t>
                </a:r>
              </a:p>
              <a:p>
                <a:endParaRPr lang="en-US" sz="1600" b="1" i="1" dirty="0">
                  <a:latin typeface="Georgia" panose="02040502050405020303" pitchFamily="18" charset="0"/>
                </a:endParaRPr>
              </a:p>
              <a:p>
                <a:pPr marL="342900" indent="-342900">
                  <a:buAutoNum type="arabicPeriod"/>
                </a:pPr>
                <a:r>
                  <a:rPr lang="en-US" sz="2400" b="1" i="1" dirty="0">
                    <a:latin typeface="Georgia" panose="02040502050405020303" pitchFamily="18" charset="0"/>
                  </a:rPr>
                  <a:t>2 ≤ n(X</a:t>
                </a:r>
                <a:r>
                  <a:rPr lang="en-US" sz="2400" b="1" i="1" baseline="-25000" dirty="0">
                    <a:latin typeface="Georgia" panose="02040502050405020303" pitchFamily="18" charset="0"/>
                  </a:rPr>
                  <a:t>i</a:t>
                </a:r>
                <a:r>
                  <a:rPr lang="en-US" sz="2400" b="1" i="1" dirty="0">
                    <a:latin typeface="Georgia" panose="02040502050405020303" pitchFamily="18" charset="0"/>
                  </a:rPr>
                  <a:t>) ≤ 4</a:t>
                </a:r>
                <a:endParaRPr lang="en-US" sz="2800" b="1" i="1" dirty="0">
                  <a:latin typeface="Georgia" panose="02040502050405020303" pitchFamily="18" charset="0"/>
                </a:endParaRPr>
              </a:p>
              <a:p>
                <a:pPr marL="342900" indent="-342900">
                  <a:buAutoNum type="arabicPeriod"/>
                </a:pPr>
                <a:endParaRPr lang="en-US" sz="1600" i="1" dirty="0">
                  <a:latin typeface="Georgia" panose="02040502050405020303" pitchFamily="18" charset="0"/>
                </a:endParaRPr>
              </a:p>
              <a:p>
                <a:pPr marL="342900" indent="-342900">
                  <a:buAutoNum type="arabicPeriod"/>
                </a:pPr>
                <a:r>
                  <a:rPr lang="en-US" i="1" dirty="0">
                    <a:latin typeface="Georgia" panose="02040502050405020303" pitchFamily="18" charset="0"/>
                  </a:rPr>
                  <a:t>X</a:t>
                </a:r>
                <a:r>
                  <a:rPr lang="en-US" i="1" baseline="-25000" dirty="0">
                    <a:latin typeface="Georgia" panose="02040502050405020303" pitchFamily="18" charset="0"/>
                  </a:rPr>
                  <a:t>i</a:t>
                </a:r>
                <a:r>
                  <a:rPr lang="en-US" i="1" dirty="0">
                    <a:latin typeface="Georgia" panose="02040502050405020303" pitchFamily="18" charset="0"/>
                  </a:rPr>
                  <a:t> = {0,1}</a:t>
                </a:r>
                <a:endParaRPr lang="en-US" sz="2000" i="1" dirty="0">
                  <a:latin typeface="Georgia" panose="02040502050405020303" pitchFamily="18" charset="0"/>
                </a:endParaRPr>
              </a:p>
              <a:p>
                <a:pPr marL="342900" indent="-342900">
                  <a:buAutoNum type="arabicPeriod"/>
                </a:pPr>
                <a:endParaRPr lang="en-US" sz="1600" i="1" dirty="0">
                  <a:latin typeface="Georgia" panose="02040502050405020303" pitchFamily="18" charset="0"/>
                </a:endParaRPr>
              </a:p>
              <a:p>
                <a:pPr marL="342900" indent="-342900">
                  <a:buAutoNum type="arabicPeriod"/>
                </a:pPr>
                <a14:m>
                  <m:oMath xmlns:m="http://schemas.openxmlformats.org/officeDocument/2006/math">
                    <m:nary>
                      <m:naryPr>
                        <m:chr m:val="∑"/>
                        <m:limLoc m:val="undOvr"/>
                        <m:grow m:val="on"/>
                        <m:ctrlPr>
                          <a:rPr lang="en-US" i="1" dirty="0" smtClean="0">
                            <a:latin typeface="Cambria Math" panose="02040503050406030204" pitchFamily="18" charset="0"/>
                          </a:rPr>
                        </m:ctrlPr>
                      </m:naryPr>
                      <m:sub>
                        <m:r>
                          <a:rPr lang="en-US" b="0" i="1" dirty="0" smtClean="0">
                            <a:latin typeface="Cambria Math" panose="02040503050406030204" pitchFamily="18" charset="0"/>
                          </a:rPr>
                          <m:t>𝑖</m:t>
                        </m:r>
                        <m:r>
                          <a:rPr lang="en-US" b="0" i="1" dirty="0" smtClean="0">
                            <a:latin typeface="Cambria Math" panose="02040503050406030204" pitchFamily="18" charset="0"/>
                          </a:rPr>
                          <m:t>=1</m:t>
                        </m:r>
                      </m:sub>
                      <m:sup>
                        <m:r>
                          <a:rPr lang="en-US" b="0" i="1" dirty="0" smtClean="0">
                            <a:latin typeface="Cambria Math" panose="02040503050406030204" pitchFamily="18" charset="0"/>
                          </a:rPr>
                          <m:t>𝑛</m:t>
                        </m:r>
                      </m:sup>
                      <m:e>
                        <m:r>
                          <a:rPr lang="en-US" b="0" i="1" dirty="0" smtClean="0">
                            <a:latin typeface="Cambria Math" panose="02040503050406030204" pitchFamily="18" charset="0"/>
                          </a:rPr>
                          <m:t>𝑃</m:t>
                        </m:r>
                        <m:d>
                          <m:dPr>
                            <m:ctrlPr>
                              <a:rPr lang="en-US" i="1" dirty="0" smtClean="0">
                                <a:latin typeface="Cambria Math" panose="02040503050406030204" pitchFamily="18" charset="0"/>
                              </a:rPr>
                            </m:ctrlPr>
                          </m:dPr>
                          <m:e>
                            <m:sSub>
                              <m:sSubPr>
                                <m:ctrlPr>
                                  <a:rPr lang="en-US" i="1" dirty="0" smtClean="0">
                                    <a:latin typeface="Cambria Math" panose="02040503050406030204" pitchFamily="18" charset="0"/>
                                  </a:rPr>
                                </m:ctrlPr>
                              </m:sSubPr>
                              <m:e>
                                <m:r>
                                  <a:rPr lang="en-US" b="0" i="1" dirty="0" smtClean="0">
                                    <a:latin typeface="Cambria Math" panose="02040503050406030204" pitchFamily="18" charset="0"/>
                                  </a:rPr>
                                  <m:t>𝑋</m:t>
                                </m:r>
                              </m:e>
                              <m:sub>
                                <m:r>
                                  <a:rPr lang="en-US" b="0" i="1" dirty="0" smtClean="0">
                                    <a:latin typeface="Cambria Math" panose="02040503050406030204" pitchFamily="18" charset="0"/>
                                  </a:rPr>
                                  <m:t>𝑖</m:t>
                                </m:r>
                              </m:sub>
                            </m:sSub>
                          </m:e>
                        </m:d>
                      </m:e>
                    </m:nary>
                    <m:r>
                      <a:rPr lang="en-US" b="0" i="1" dirty="0" smtClean="0">
                        <a:latin typeface="Cambria Math" panose="02040503050406030204" pitchFamily="18" charset="0"/>
                      </a:rPr>
                      <m:t>≤</m:t>
                    </m:r>
                    <m:f>
                      <m:fPr>
                        <m:ctrlPr>
                          <a:rPr lang="en-US" i="1" dirty="0" smtClean="0">
                            <a:latin typeface="Cambria Math" panose="02040503050406030204" pitchFamily="18" charset="0"/>
                          </a:rPr>
                        </m:ctrlPr>
                      </m:fPr>
                      <m:num>
                        <m:nary>
                          <m:naryPr>
                            <m:chr m:val="∑"/>
                            <m:limLoc m:val="undOvr"/>
                            <m:grow m:val="on"/>
                            <m:ctrlPr>
                              <a:rPr lang="en-US" i="1" dirty="0" smtClean="0">
                                <a:latin typeface="Cambria Math" panose="02040503050406030204" pitchFamily="18" charset="0"/>
                              </a:rPr>
                            </m:ctrlPr>
                          </m:naryPr>
                          <m:sub>
                            <m:r>
                              <a:rPr lang="en-US" b="0" i="1" dirty="0" smtClean="0">
                                <a:latin typeface="Cambria Math" panose="02040503050406030204" pitchFamily="18" charset="0"/>
                              </a:rPr>
                              <m:t>𝑗</m:t>
                            </m:r>
                            <m:r>
                              <a:rPr lang="en-US" b="0" i="1" dirty="0" smtClean="0">
                                <a:latin typeface="Cambria Math" panose="02040503050406030204" pitchFamily="18" charset="0"/>
                              </a:rPr>
                              <m:t>=1</m:t>
                            </m:r>
                          </m:sub>
                          <m:sup>
                            <m:r>
                              <a:rPr lang="en-US" b="0" i="1" dirty="0" smtClean="0">
                                <a:latin typeface="Cambria Math" panose="02040503050406030204" pitchFamily="18" charset="0"/>
                              </a:rPr>
                              <m:t>𝑁</m:t>
                            </m:r>
                          </m:sup>
                          <m:e>
                            <m:r>
                              <a:rPr lang="en-US" b="0" i="1" dirty="0" smtClean="0">
                                <a:latin typeface="Cambria Math" panose="02040503050406030204" pitchFamily="18" charset="0"/>
                              </a:rPr>
                              <m:t>𝑃</m:t>
                            </m:r>
                            <m:d>
                              <m:dPr>
                                <m:ctrlPr>
                                  <a:rPr lang="en-US" i="1" dirty="0" smtClean="0">
                                    <a:latin typeface="Cambria Math" panose="02040503050406030204" pitchFamily="18" charset="0"/>
                                  </a:rPr>
                                </m:ctrlPr>
                              </m:dPr>
                              <m:e>
                                <m:sSub>
                                  <m:sSubPr>
                                    <m:ctrlPr>
                                      <a:rPr lang="en-US" i="1" dirty="0" smtClean="0">
                                        <a:latin typeface="Cambria Math" panose="02040503050406030204" pitchFamily="18" charset="0"/>
                                      </a:rPr>
                                    </m:ctrlPr>
                                  </m:sSubPr>
                                  <m:e>
                                    <m:r>
                                      <a:rPr lang="en-US" b="0" i="1" dirty="0" smtClean="0">
                                        <a:latin typeface="Cambria Math" panose="02040503050406030204" pitchFamily="18" charset="0"/>
                                      </a:rPr>
                                      <m:t>𝑋</m:t>
                                    </m:r>
                                  </m:e>
                                  <m:sub>
                                    <m:r>
                                      <a:rPr lang="en-US" b="0" i="1" dirty="0" smtClean="0">
                                        <a:latin typeface="Cambria Math" panose="02040503050406030204" pitchFamily="18" charset="0"/>
                                      </a:rPr>
                                      <m:t>𝑗</m:t>
                                    </m:r>
                                  </m:sub>
                                </m:sSub>
                              </m:e>
                            </m:d>
                          </m:e>
                        </m:nary>
                      </m:num>
                      <m:den>
                        <m:r>
                          <a:rPr lang="en-US" b="0" i="1" dirty="0" smtClean="0">
                            <a:latin typeface="Cambria Math" panose="02040503050406030204" pitchFamily="18" charset="0"/>
                          </a:rPr>
                          <m:t>𝑁</m:t>
                        </m:r>
                      </m:den>
                    </m:f>
                    <m:r>
                      <a:rPr lang="en-US" b="0" i="1" dirty="0" smtClean="0">
                        <a:latin typeface="Cambria Math" panose="02040503050406030204" pitchFamily="18" charset="0"/>
                      </a:rPr>
                      <m:t>∗</m:t>
                    </m:r>
                    <m:r>
                      <a:rPr lang="en-US" b="0" i="1" dirty="0" smtClean="0">
                        <a:latin typeface="Cambria Math" panose="02040503050406030204" pitchFamily="18" charset="0"/>
                      </a:rPr>
                      <m:t>𝑛</m:t>
                    </m:r>
                    <m:d>
                      <m:dPr>
                        <m:ctrlPr>
                          <a:rPr lang="en-US" i="1" dirty="0" smtClean="0">
                            <a:latin typeface="Cambria Math" panose="02040503050406030204" pitchFamily="18" charset="0"/>
                          </a:rPr>
                        </m:ctrlPr>
                      </m:dPr>
                      <m:e>
                        <m:sSub>
                          <m:sSubPr>
                            <m:ctrlPr>
                              <a:rPr lang="en-US" i="1" dirty="0" smtClean="0">
                                <a:latin typeface="Cambria Math" panose="02040503050406030204" pitchFamily="18" charset="0"/>
                              </a:rPr>
                            </m:ctrlPr>
                          </m:sSubPr>
                          <m:e>
                            <m:r>
                              <a:rPr lang="en-US" b="0" i="1" dirty="0" smtClean="0">
                                <a:latin typeface="Cambria Math" panose="02040503050406030204" pitchFamily="18" charset="0"/>
                              </a:rPr>
                              <m:t>𝑋</m:t>
                            </m:r>
                          </m:e>
                          <m:sub>
                            <m:r>
                              <a:rPr lang="en-US" b="0" i="1" dirty="0" smtClean="0">
                                <a:latin typeface="Cambria Math" panose="02040503050406030204" pitchFamily="18" charset="0"/>
                              </a:rPr>
                              <m:t>𝑖</m:t>
                            </m:r>
                          </m:sub>
                        </m:sSub>
                      </m:e>
                    </m:d>
                  </m:oMath>
                </a14:m>
                <a:endParaRPr lang="en-US" sz="1600" i="1" dirty="0">
                  <a:latin typeface="Georgia" panose="02040502050405020303" pitchFamily="18" charset="0"/>
                </a:endParaRPr>
              </a:p>
              <a:p>
                <a:pPr marL="342900" indent="-342900">
                  <a:buAutoNum type="arabicPeriod"/>
                </a:pPr>
                <a:endParaRPr lang="en-US" sz="1600" i="1" dirty="0">
                  <a:latin typeface="Georgia" panose="02040502050405020303" pitchFamily="18" charset="0"/>
                </a:endParaRPr>
              </a:p>
              <a:p>
                <a:pPr marL="342900" indent="-342900">
                  <a:buAutoNum type="arabicPeriod"/>
                </a:pPr>
                <a14:m>
                  <m:oMath xmlns:m="http://schemas.openxmlformats.org/officeDocument/2006/math">
                    <m:nary>
                      <m:naryPr>
                        <m:chr m:val="∑"/>
                        <m:limLoc m:val="undOvr"/>
                        <m:grow m:val="on"/>
                        <m:ctrlPr>
                          <a:rPr lang="en-US" sz="1600" i="1" dirty="0">
                            <a:latin typeface="Cambria Math" panose="02040503050406030204" pitchFamily="18" charset="0"/>
                          </a:rPr>
                        </m:ctrlPr>
                      </m:naryPr>
                      <m:sub>
                        <m:r>
                          <a:rPr lang="en-US" sz="1600" b="0" i="1" dirty="0" smtClean="0">
                            <a:latin typeface="Cambria Math" panose="02040503050406030204" pitchFamily="18" charset="0"/>
                          </a:rPr>
                          <m:t>𝑖</m:t>
                        </m:r>
                        <m:r>
                          <a:rPr lang="en-US" sz="1600" b="0" i="1" dirty="0" smtClean="0">
                            <a:latin typeface="Cambria Math" panose="02040503050406030204" pitchFamily="18" charset="0"/>
                          </a:rPr>
                          <m:t>=1</m:t>
                        </m:r>
                      </m:sub>
                      <m:sup>
                        <m:r>
                          <a:rPr lang="en-US" sz="1600" b="0" i="1" dirty="0" smtClean="0">
                            <a:latin typeface="Cambria Math" panose="02040503050406030204" pitchFamily="18" charset="0"/>
                          </a:rPr>
                          <m:t>𝑛</m:t>
                        </m:r>
                      </m:sup>
                      <m:e>
                        <m:r>
                          <a:rPr lang="en-US" sz="1600" b="0" i="1" dirty="0" smtClean="0">
                            <a:latin typeface="Cambria Math" panose="02040503050406030204" pitchFamily="18" charset="0"/>
                          </a:rPr>
                          <m:t>𝑄</m:t>
                        </m:r>
                        <m:d>
                          <m:dPr>
                            <m:ctrlPr>
                              <a:rPr lang="en-US" sz="1600" i="1" dirty="0">
                                <a:latin typeface="Cambria Math" panose="02040503050406030204" pitchFamily="18" charset="0"/>
                              </a:rPr>
                            </m:ctrlPr>
                          </m:dPr>
                          <m:e>
                            <m:sSub>
                              <m:sSubPr>
                                <m:ctrlPr>
                                  <a:rPr lang="en-US" sz="1600" i="1" dirty="0" smtClean="0">
                                    <a:latin typeface="Cambria Math" panose="02040503050406030204" pitchFamily="18" charset="0"/>
                                  </a:rPr>
                                </m:ctrlPr>
                              </m:sSubPr>
                              <m:e>
                                <m:r>
                                  <a:rPr lang="en-US" sz="1600" b="0" i="1" dirty="0" smtClean="0">
                                    <a:latin typeface="Cambria Math" panose="02040503050406030204" pitchFamily="18" charset="0"/>
                                  </a:rPr>
                                  <m:t>𝑋</m:t>
                                </m:r>
                              </m:e>
                              <m:sub>
                                <m:r>
                                  <a:rPr lang="en-US" sz="1600" b="0" i="1" dirty="0" smtClean="0">
                                    <a:latin typeface="Cambria Math" panose="02040503050406030204" pitchFamily="18" charset="0"/>
                                  </a:rPr>
                                  <m:t>𝑖</m:t>
                                </m:r>
                              </m:sub>
                            </m:sSub>
                          </m:e>
                        </m:d>
                        <m:r>
                          <a:rPr lang="en-US" sz="1600" b="0" i="1" dirty="0" smtClean="0">
                            <a:latin typeface="Cambria Math" panose="02040503050406030204" pitchFamily="18" charset="0"/>
                          </a:rPr>
                          <m:t> ∗</m:t>
                        </m:r>
                        <m:r>
                          <a:rPr lang="en-US" sz="1600" b="0" i="1" dirty="0" smtClean="0">
                            <a:latin typeface="Cambria Math" panose="02040503050406030204" pitchFamily="18" charset="0"/>
                          </a:rPr>
                          <m:t>𝐶𝑜𝑟𝑟</m:t>
                        </m:r>
                        <m:r>
                          <a:rPr lang="en-US" sz="1600" b="0" i="1" dirty="0" smtClean="0">
                            <a:latin typeface="Cambria Math" panose="02040503050406030204" pitchFamily="18" charset="0"/>
                          </a:rPr>
                          <m:t>(</m:t>
                        </m:r>
                        <m:sSub>
                          <m:sSubPr>
                            <m:ctrlPr>
                              <a:rPr lang="en-US" sz="1600" i="1" dirty="0">
                                <a:latin typeface="Cambria Math" panose="02040503050406030204" pitchFamily="18" charset="0"/>
                              </a:rPr>
                            </m:ctrlPr>
                          </m:sSubPr>
                          <m:e>
                            <m:r>
                              <a:rPr lang="en-US" sz="1600" i="1" dirty="0">
                                <a:latin typeface="Cambria Math" panose="02040503050406030204" pitchFamily="18" charset="0"/>
                              </a:rPr>
                              <m:t>𝑋</m:t>
                            </m:r>
                          </m:e>
                          <m:sub>
                            <m:r>
                              <a:rPr lang="en-US" sz="1600" i="1" dirty="0">
                                <a:latin typeface="Cambria Math" panose="02040503050406030204" pitchFamily="18" charset="0"/>
                              </a:rPr>
                              <m:t>𝑖</m:t>
                            </m:r>
                          </m:sub>
                        </m:sSub>
                        <m:r>
                          <a:rPr lang="en-US" sz="1600" b="0" i="1" baseline="-25000" dirty="0" smtClean="0">
                            <a:latin typeface="Cambria Math" panose="02040503050406030204" pitchFamily="18" charset="0"/>
                          </a:rPr>
                          <m:t>,</m:t>
                        </m:r>
                        <m:r>
                          <a:rPr lang="en-US" sz="1600" b="0" i="1" baseline="-25000" dirty="0" smtClean="0">
                            <a:latin typeface="Cambria Math" panose="02040503050406030204" pitchFamily="18" charset="0"/>
                          </a:rPr>
                          <m:t>𝑛</m:t>
                        </m:r>
                        <m:r>
                          <a:rPr lang="en-US" sz="1600" b="0" i="1" dirty="0" smtClean="0">
                            <a:latin typeface="Cambria Math" panose="02040503050406030204" pitchFamily="18" charset="0"/>
                          </a:rPr>
                          <m:t>)</m:t>
                        </m:r>
                      </m:e>
                    </m:nary>
                    <m:r>
                      <a:rPr lang="en-US" sz="1600" b="0" i="1" dirty="0" smtClean="0">
                        <a:latin typeface="Cambria Math" panose="02040503050406030204" pitchFamily="18" charset="0"/>
                      </a:rPr>
                      <m:t>≥</m:t>
                    </m:r>
                    <m:f>
                      <m:fPr>
                        <m:ctrlPr>
                          <a:rPr lang="en-US" sz="1600" i="1" dirty="0">
                            <a:latin typeface="Cambria Math" panose="02040503050406030204" pitchFamily="18" charset="0"/>
                          </a:rPr>
                        </m:ctrlPr>
                      </m:fPr>
                      <m:num>
                        <m:nary>
                          <m:naryPr>
                            <m:chr m:val="∑"/>
                            <m:limLoc m:val="undOvr"/>
                            <m:grow m:val="on"/>
                            <m:ctrlPr>
                              <a:rPr lang="en-US" sz="1600" i="1" dirty="0">
                                <a:latin typeface="Cambria Math" panose="02040503050406030204" pitchFamily="18" charset="0"/>
                              </a:rPr>
                            </m:ctrlPr>
                          </m:naryPr>
                          <m:sub>
                            <m:r>
                              <a:rPr lang="en-US" sz="1600" b="0" i="1" dirty="0" smtClean="0">
                                <a:latin typeface="Cambria Math" panose="02040503050406030204" pitchFamily="18" charset="0"/>
                              </a:rPr>
                              <m:t>𝑗</m:t>
                            </m:r>
                            <m:r>
                              <a:rPr lang="en-US" sz="1600" b="0" i="1" dirty="0" smtClean="0">
                                <a:latin typeface="Cambria Math" panose="02040503050406030204" pitchFamily="18" charset="0"/>
                              </a:rPr>
                              <m:t>=1</m:t>
                            </m:r>
                          </m:sub>
                          <m:sup>
                            <m:r>
                              <a:rPr lang="en-US" sz="1600" b="0" i="1" dirty="0" smtClean="0">
                                <a:latin typeface="Cambria Math" panose="02040503050406030204" pitchFamily="18" charset="0"/>
                              </a:rPr>
                              <m:t>𝑁</m:t>
                            </m:r>
                          </m:sup>
                          <m:e>
                            <m:r>
                              <a:rPr lang="en-US" sz="1600" b="0" i="1" dirty="0" smtClean="0">
                                <a:latin typeface="Cambria Math" panose="02040503050406030204" pitchFamily="18" charset="0"/>
                              </a:rPr>
                              <m:t>𝑄</m:t>
                            </m:r>
                            <m:d>
                              <m:dPr>
                                <m:ctrlPr>
                                  <a:rPr lang="en-US" sz="1600" i="1" dirty="0">
                                    <a:latin typeface="Cambria Math" panose="02040503050406030204" pitchFamily="18" charset="0"/>
                                  </a:rPr>
                                </m:ctrlPr>
                              </m:dPr>
                              <m:e>
                                <m:sSub>
                                  <m:sSubPr>
                                    <m:ctrlPr>
                                      <a:rPr lang="en-US" sz="1600" i="1" dirty="0">
                                        <a:latin typeface="Cambria Math" panose="02040503050406030204" pitchFamily="18" charset="0"/>
                                      </a:rPr>
                                    </m:ctrlPr>
                                  </m:sSubPr>
                                  <m:e>
                                    <m:r>
                                      <a:rPr lang="en-US" sz="1600" b="0" i="1" dirty="0" smtClean="0">
                                        <a:latin typeface="Cambria Math" panose="02040503050406030204" pitchFamily="18" charset="0"/>
                                      </a:rPr>
                                      <m:t>𝑋</m:t>
                                    </m:r>
                                  </m:e>
                                  <m:sub>
                                    <m:r>
                                      <a:rPr lang="en-US" sz="1600" b="0" i="1" dirty="0" smtClean="0">
                                        <a:latin typeface="Cambria Math" panose="02040503050406030204" pitchFamily="18" charset="0"/>
                                      </a:rPr>
                                      <m:t>𝑗</m:t>
                                    </m:r>
                                  </m:sub>
                                </m:sSub>
                              </m:e>
                            </m:d>
                          </m:e>
                        </m:nary>
                      </m:num>
                      <m:den>
                        <m:r>
                          <a:rPr lang="en-US" sz="1600" b="0" i="1" dirty="0" smtClean="0">
                            <a:latin typeface="Cambria Math" panose="02040503050406030204" pitchFamily="18" charset="0"/>
                          </a:rPr>
                          <m:t>𝑁</m:t>
                        </m:r>
                      </m:den>
                    </m:f>
                    <m:r>
                      <a:rPr lang="en-US" sz="1600" b="0" i="1" dirty="0" smtClean="0">
                        <a:latin typeface="Cambria Math" panose="02040503050406030204" pitchFamily="18" charset="0"/>
                      </a:rPr>
                      <m:t>∗2</m:t>
                    </m:r>
                    <m:r>
                      <a:rPr lang="en-US" sz="1600" b="0" i="1" dirty="0" smtClean="0">
                        <a:latin typeface="Cambria Math" panose="02040503050406030204" pitchFamily="18" charset="0"/>
                      </a:rPr>
                      <m:t>𝑛</m:t>
                    </m:r>
                    <m:d>
                      <m:dPr>
                        <m:ctrlPr>
                          <a:rPr lang="en-US" sz="1600" i="1" dirty="0">
                            <a:latin typeface="Cambria Math" panose="02040503050406030204" pitchFamily="18" charset="0"/>
                          </a:rPr>
                        </m:ctrlPr>
                      </m:dPr>
                      <m:e>
                        <m:sSub>
                          <m:sSubPr>
                            <m:ctrlPr>
                              <a:rPr lang="en-US" sz="1600" i="1" dirty="0">
                                <a:latin typeface="Cambria Math" panose="02040503050406030204" pitchFamily="18" charset="0"/>
                              </a:rPr>
                            </m:ctrlPr>
                          </m:sSubPr>
                          <m:e>
                            <m:r>
                              <a:rPr lang="en-US" sz="1600" b="0" i="1" dirty="0" smtClean="0">
                                <a:latin typeface="Cambria Math" panose="02040503050406030204" pitchFamily="18" charset="0"/>
                              </a:rPr>
                              <m:t>𝑋</m:t>
                            </m:r>
                          </m:e>
                          <m:sub>
                            <m:r>
                              <a:rPr lang="en-US" sz="1600" b="0" i="1" dirty="0" smtClean="0">
                                <a:latin typeface="Cambria Math" panose="02040503050406030204" pitchFamily="18" charset="0"/>
                              </a:rPr>
                              <m:t>𝑖</m:t>
                            </m:r>
                          </m:sub>
                        </m:sSub>
                      </m:e>
                    </m:d>
                  </m:oMath>
                </a14:m>
                <a:endParaRPr lang="en-US" sz="1600" i="1" dirty="0">
                  <a:latin typeface="Georgia" panose="02040502050405020303" pitchFamily="18" charset="0"/>
                </a:endParaRPr>
              </a:p>
            </p:txBody>
          </p:sp>
        </mc:Choice>
        <mc:Fallback xmlns="">
          <p:sp>
            <p:nvSpPr>
              <p:cNvPr id="6" name="TextBox 5">
                <a:extLst>
                  <a:ext uri="{FF2B5EF4-FFF2-40B4-BE49-F238E27FC236}">
                    <a16:creationId xmlns:a16="http://schemas.microsoft.com/office/drawing/2014/main" id="{33E34035-C00A-4988-93B1-1F2B9DB94F89}"/>
                  </a:ext>
                </a:extLst>
              </p:cNvPr>
              <p:cNvSpPr txBox="1">
                <a:spLocks noRot="1" noChangeAspect="1" noMove="1" noResize="1" noEditPoints="1" noAdjustHandles="1" noChangeArrowheads="1" noChangeShapeType="1" noTextEdit="1"/>
              </p:cNvSpPr>
              <p:nvPr/>
            </p:nvSpPr>
            <p:spPr>
              <a:xfrm>
                <a:off x="625964" y="2864997"/>
                <a:ext cx="11285061" cy="3481851"/>
              </a:xfrm>
              <a:prstGeom prst="rect">
                <a:avLst/>
              </a:prstGeom>
              <a:blipFill>
                <a:blip r:embed="rId3"/>
                <a:stretch>
                  <a:fillRect l="-756"/>
                </a:stretch>
              </a:blipFill>
            </p:spPr>
            <p:txBody>
              <a:bodyPr/>
              <a:lstStyle/>
              <a:p>
                <a:r>
                  <a:rPr lang="en-US">
                    <a:noFill/>
                  </a:rPr>
                  <a:t> </a:t>
                </a:r>
              </a:p>
            </p:txBody>
          </p:sp>
        </mc:Fallback>
      </mc:AlternateContent>
      <p:sp>
        <p:nvSpPr>
          <p:cNvPr id="7" name="TextBox 6">
            <a:extLst>
              <a:ext uri="{FF2B5EF4-FFF2-40B4-BE49-F238E27FC236}">
                <a16:creationId xmlns:a16="http://schemas.microsoft.com/office/drawing/2014/main" id="{5EEAF805-A690-4EA3-8DD8-9AFC8002DEB1}"/>
              </a:ext>
            </a:extLst>
          </p:cNvPr>
          <p:cNvSpPr txBox="1"/>
          <p:nvPr/>
        </p:nvSpPr>
        <p:spPr>
          <a:xfrm>
            <a:off x="233082" y="251012"/>
            <a:ext cx="10941978" cy="461665"/>
          </a:xfrm>
          <a:prstGeom prst="rect">
            <a:avLst/>
          </a:prstGeom>
          <a:noFill/>
        </p:spPr>
        <p:txBody>
          <a:bodyPr wrap="square" rtlCol="0">
            <a:spAutoFit/>
          </a:bodyPr>
          <a:lstStyle/>
          <a:p>
            <a:r>
              <a:rPr lang="en-US" sz="2400" b="1" cap="all">
                <a:latin typeface="Georgia" panose="02040502050405020303" pitchFamily="18" charset="0"/>
              </a:rPr>
              <a:t>Framing of Optimization Problem</a:t>
            </a:r>
            <a:endParaRPr lang="en-US" sz="3200" b="1" cap="all">
              <a:latin typeface="Georgia" panose="02040502050405020303" pitchFamily="18" charset="0"/>
            </a:endParaRPr>
          </a:p>
        </p:txBody>
      </p:sp>
      <p:sp>
        <p:nvSpPr>
          <p:cNvPr id="8" name="Rectangle 7">
            <a:extLst>
              <a:ext uri="{FF2B5EF4-FFF2-40B4-BE49-F238E27FC236}">
                <a16:creationId xmlns:a16="http://schemas.microsoft.com/office/drawing/2014/main" id="{D2173514-11C1-4C6A-BE24-F4C22D434CF0}"/>
              </a:ext>
            </a:extLst>
          </p:cNvPr>
          <p:cNvSpPr/>
          <p:nvPr/>
        </p:nvSpPr>
        <p:spPr>
          <a:xfrm>
            <a:off x="400050" y="6812280"/>
            <a:ext cx="11791579" cy="4572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a:t>
            </a:r>
          </a:p>
        </p:txBody>
      </p:sp>
      <p:pic>
        <p:nvPicPr>
          <p:cNvPr id="9" name="Graphic 8" descr="Toothpaste">
            <a:extLst>
              <a:ext uri="{FF2B5EF4-FFF2-40B4-BE49-F238E27FC236}">
                <a16:creationId xmlns:a16="http://schemas.microsoft.com/office/drawing/2014/main" id="{3414CB37-A1B9-4BF0-8B8A-57A3E39A9EDD}"/>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6219692">
            <a:off x="-34366" y="6088478"/>
            <a:ext cx="598153" cy="598153"/>
          </a:xfrm>
          <a:prstGeom prst="rect">
            <a:avLst/>
          </a:prstGeom>
        </p:spPr>
      </p:pic>
      <p:pic>
        <p:nvPicPr>
          <p:cNvPr id="10" name="Graphic 9" descr="Snake">
            <a:extLst>
              <a:ext uri="{FF2B5EF4-FFF2-40B4-BE49-F238E27FC236}">
                <a16:creationId xmlns:a16="http://schemas.microsoft.com/office/drawing/2014/main" id="{E37C0D1C-2939-476A-9E0F-16250201EC06}"/>
              </a:ext>
            </a:extLst>
          </p:cNvPr>
          <p:cNvPicPr>
            <a:picLocks noChangeAspect="1"/>
          </p:cNvPicPr>
          <p:nvPr/>
        </p:nvPicPr>
        <p:blipFill rotWithShape="1">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rcRect l="-2" t="56027" r="47111"/>
          <a:stretch/>
        </p:blipFill>
        <p:spPr>
          <a:xfrm rot="7001259">
            <a:off x="297005" y="6680310"/>
            <a:ext cx="336423" cy="279713"/>
          </a:xfrm>
          <a:prstGeom prst="rect">
            <a:avLst/>
          </a:prstGeom>
        </p:spPr>
      </p:pic>
      <p:sp>
        <p:nvSpPr>
          <p:cNvPr id="11" name="TextBox 10">
            <a:extLst>
              <a:ext uri="{FF2B5EF4-FFF2-40B4-BE49-F238E27FC236}">
                <a16:creationId xmlns:a16="http://schemas.microsoft.com/office/drawing/2014/main" id="{C11764AA-43A6-4730-8BA5-0FFF79390C3D}"/>
              </a:ext>
            </a:extLst>
          </p:cNvPr>
          <p:cNvSpPr txBox="1"/>
          <p:nvPr/>
        </p:nvSpPr>
        <p:spPr>
          <a:xfrm>
            <a:off x="6879272" y="3411923"/>
            <a:ext cx="4506686" cy="1477328"/>
          </a:xfrm>
          <a:prstGeom prst="rect">
            <a:avLst/>
          </a:prstGeom>
          <a:noFill/>
        </p:spPr>
        <p:txBody>
          <a:bodyPr wrap="square" rtlCol="0">
            <a:spAutoFit/>
          </a:bodyPr>
          <a:lstStyle/>
          <a:p>
            <a:r>
              <a:rPr lang="en-US" b="1" dirty="0">
                <a:latin typeface="Georgia" panose="02040502050405020303" pitchFamily="18" charset="0"/>
              </a:rPr>
              <a:t>Constraint 1:</a:t>
            </a:r>
          </a:p>
          <a:p>
            <a:endParaRPr lang="en-US" dirty="0">
              <a:latin typeface="Georgia" panose="02040502050405020303" pitchFamily="18" charset="0"/>
            </a:endParaRPr>
          </a:p>
          <a:p>
            <a:r>
              <a:rPr lang="en-US" i="1" dirty="0">
                <a:latin typeface="Georgia" panose="02040502050405020303" pitchFamily="18" charset="0"/>
              </a:rPr>
              <a:t>There are at-least 2 distinct products in a PPG and at-most 4 distinct products in a PPG</a:t>
            </a:r>
            <a:endParaRPr lang="en-US" dirty="0">
              <a:latin typeface="Georgia" panose="02040502050405020303" pitchFamily="18" charset="0"/>
            </a:endParaRPr>
          </a:p>
        </p:txBody>
      </p:sp>
    </p:spTree>
    <p:extLst>
      <p:ext uri="{BB962C8B-B14F-4D97-AF65-F5344CB8AC3E}">
        <p14:creationId xmlns:p14="http://schemas.microsoft.com/office/powerpoint/2010/main" val="13026451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4" name="TextBox 3">
                <a:extLst>
                  <a:ext uri="{FF2B5EF4-FFF2-40B4-BE49-F238E27FC236}">
                    <a16:creationId xmlns:a16="http://schemas.microsoft.com/office/drawing/2014/main" id="{9CC1E34C-0532-4C10-AF18-4A598D24BE4C}"/>
                  </a:ext>
                </a:extLst>
              </p:cNvPr>
              <p:cNvSpPr txBox="1"/>
              <p:nvPr/>
            </p:nvSpPr>
            <p:spPr>
              <a:xfrm>
                <a:off x="657222" y="917896"/>
                <a:ext cx="11534407" cy="1078052"/>
              </a:xfrm>
              <a:prstGeom prst="rect">
                <a:avLst/>
              </a:prstGeom>
              <a:noFill/>
            </p:spPr>
            <p:txBody>
              <a:bodyPr wrap="square" rtlCol="0">
                <a:spAutoFit/>
              </a:bodyPr>
              <a:lstStyle/>
              <a:p>
                <a:r>
                  <a:rPr lang="en-US" sz="1600" b="1" dirty="0">
                    <a:solidFill>
                      <a:srgbClr val="0070C0"/>
                    </a:solidFill>
                    <a:latin typeface="Georgia" panose="02040502050405020303" pitchFamily="18" charset="0"/>
                  </a:rPr>
                  <a:t>Objective Function:</a:t>
                </a:r>
              </a:p>
              <a:p>
                <a:r>
                  <a:rPr lang="en-US" sz="1600" dirty="0">
                    <a:latin typeface="Georgia" panose="02040502050405020303" pitchFamily="18" charset="0"/>
                  </a:rPr>
                  <a:t>Max Z = </a:t>
                </a:r>
                <a14:m>
                  <m:oMath xmlns:m="http://schemas.openxmlformats.org/officeDocument/2006/math">
                    <m:nary>
                      <m:naryPr>
                        <m:chr m:val="∑"/>
                        <m:ctrlPr>
                          <a:rPr lang="pt-BR" sz="1600" i="1">
                            <a:latin typeface="Cambria Math" panose="02040503050406030204" pitchFamily="18" charset="0"/>
                          </a:rPr>
                        </m:ctrlPr>
                      </m:naryPr>
                      <m:sub>
                        <m:r>
                          <a:rPr lang="en-US" sz="1600" b="0" i="1" smtClean="0">
                            <a:latin typeface="Cambria Math" panose="02040503050406030204" pitchFamily="18" charset="0"/>
                          </a:rPr>
                          <m:t>𝑖</m:t>
                        </m:r>
                        <m:r>
                          <a:rPr lang="pt-BR" sz="1600" i="1">
                            <a:latin typeface="Cambria Math" panose="02040503050406030204" pitchFamily="18" charset="0"/>
                          </a:rPr>
                          <m:t>=</m:t>
                        </m:r>
                        <m:r>
                          <a:rPr lang="en-US" sz="1600" b="0" i="1" smtClean="0">
                            <a:latin typeface="Cambria Math" panose="02040503050406030204" pitchFamily="18" charset="0"/>
                          </a:rPr>
                          <m:t>1</m:t>
                        </m:r>
                      </m:sub>
                      <m:sup>
                        <m:r>
                          <a:rPr lang="pt-BR" sz="1600" i="1">
                            <a:latin typeface="Cambria Math" panose="02040503050406030204" pitchFamily="18" charset="0"/>
                          </a:rPr>
                          <m:t>𝑛</m:t>
                        </m:r>
                      </m:sup>
                      <m:e>
                        <m:d>
                          <m:dPr>
                            <m:begChr m:val="["/>
                            <m:endChr m:val="]"/>
                            <m:ctrlPr>
                              <a:rPr lang="en-US" sz="1600" b="0" i="1" smtClean="0">
                                <a:latin typeface="Cambria Math" panose="02040503050406030204" pitchFamily="18" charset="0"/>
                              </a:rPr>
                            </m:ctrlPr>
                          </m:dPr>
                          <m:e>
                            <m:r>
                              <a:rPr lang="en-US" sz="1600" b="0" i="1" smtClean="0">
                                <a:latin typeface="Cambria Math" panose="02040503050406030204" pitchFamily="18" charset="0"/>
                              </a:rPr>
                              <m:t>𝑃</m:t>
                            </m:r>
                            <m:r>
                              <a:rPr lang="en-US" sz="1600" b="0" i="1" smtClean="0">
                                <a:latin typeface="Cambria Math" panose="02040503050406030204" pitchFamily="18" charset="0"/>
                              </a:rPr>
                              <m:t>(</m:t>
                            </m:r>
                            <m:r>
                              <a:rPr lang="en-US" sz="1600" b="0" i="1" smtClean="0">
                                <a:latin typeface="Cambria Math" panose="02040503050406030204" pitchFamily="18" charset="0"/>
                              </a:rPr>
                              <m:t>𝑋𝑖</m:t>
                            </m:r>
                            <m:r>
                              <a:rPr lang="en-US" sz="1600" b="0" i="1" smtClean="0">
                                <a:latin typeface="Cambria Math" panose="02040503050406030204" pitchFamily="18" charset="0"/>
                              </a:rPr>
                              <m:t>)∗</m:t>
                            </m:r>
                            <m:r>
                              <a:rPr lang="en-US" sz="1600" b="0" i="1" smtClean="0">
                                <a:latin typeface="Cambria Math" panose="02040503050406030204" pitchFamily="18" charset="0"/>
                              </a:rPr>
                              <m:t>𝑄</m:t>
                            </m:r>
                            <m:r>
                              <a:rPr lang="en-US" sz="1600" b="0" i="1" smtClean="0">
                                <a:latin typeface="Cambria Math" panose="02040503050406030204" pitchFamily="18" charset="0"/>
                              </a:rPr>
                              <m:t>(</m:t>
                            </m:r>
                            <m:r>
                              <a:rPr lang="en-US" sz="1600" b="0" i="1" smtClean="0">
                                <a:latin typeface="Cambria Math" panose="02040503050406030204" pitchFamily="18" charset="0"/>
                              </a:rPr>
                              <m:t>𝑋𝑖</m:t>
                            </m:r>
                            <m:r>
                              <a:rPr lang="en-US" sz="1600" b="0" i="1" smtClean="0">
                                <a:latin typeface="Cambria Math" panose="02040503050406030204" pitchFamily="18" charset="0"/>
                              </a:rPr>
                              <m:t>)∗</m:t>
                            </m:r>
                            <m:r>
                              <a:rPr lang="en-US" sz="1600" b="0" i="1" smtClean="0">
                                <a:latin typeface="Cambria Math" panose="02040503050406030204" pitchFamily="18" charset="0"/>
                              </a:rPr>
                              <m:t>𝐷</m:t>
                            </m:r>
                            <m:r>
                              <a:rPr lang="en-US" sz="1600" b="0" i="1" smtClean="0">
                                <a:latin typeface="Cambria Math" panose="02040503050406030204" pitchFamily="18" charset="0"/>
                              </a:rPr>
                              <m:t>(</m:t>
                            </m:r>
                            <m:r>
                              <a:rPr lang="en-US" sz="1600" b="0" i="1" smtClean="0">
                                <a:latin typeface="Cambria Math" panose="02040503050406030204" pitchFamily="18" charset="0"/>
                              </a:rPr>
                              <m:t>𝑋𝑖</m:t>
                            </m:r>
                            <m:r>
                              <a:rPr lang="en-US" sz="1600" b="0" i="1" smtClean="0">
                                <a:latin typeface="Cambria Math" panose="02040503050406030204" pitchFamily="18" charset="0"/>
                              </a:rPr>
                              <m:t>)∗</m:t>
                            </m:r>
                            <m:d>
                              <m:dPr>
                                <m:ctrlPr>
                                  <a:rPr lang="en-US" sz="1600" b="0" i="1" smtClean="0">
                                    <a:latin typeface="Cambria Math" panose="02040503050406030204" pitchFamily="18" charset="0"/>
                                  </a:rPr>
                                </m:ctrlPr>
                              </m:dPr>
                              <m:e>
                                <m:r>
                                  <a:rPr lang="en-US" sz="1600" b="0" i="1" smtClean="0">
                                    <a:latin typeface="Cambria Math" panose="02040503050406030204" pitchFamily="18" charset="0"/>
                                  </a:rPr>
                                  <m:t>1.1</m:t>
                                </m:r>
                              </m:e>
                            </m:d>
                          </m:e>
                        </m:d>
                        <m:r>
                          <a:rPr lang="en-US" sz="1600" b="0" i="1" smtClean="0">
                            <a:latin typeface="Cambria Math" panose="02040503050406030204" pitchFamily="18" charset="0"/>
                          </a:rPr>
                          <m:t>+</m:t>
                        </m:r>
                        <m:d>
                          <m:dPr>
                            <m:begChr m:val="["/>
                            <m:endChr m:val="]"/>
                            <m:ctrlPr>
                              <a:rPr lang="en-US" sz="1600" i="1" smtClean="0">
                                <a:latin typeface="Cambria Math" panose="02040503050406030204" pitchFamily="18" charset="0"/>
                              </a:rPr>
                            </m:ctrlPr>
                          </m:dPr>
                          <m:e>
                            <m:r>
                              <a:rPr lang="en-US" sz="1600" b="0" i="1" smtClean="0">
                                <a:latin typeface="Cambria Math" panose="02040503050406030204" pitchFamily="18" charset="0"/>
                              </a:rPr>
                              <m:t>𝑃</m:t>
                            </m:r>
                            <m:r>
                              <a:rPr lang="en-US" sz="1600" b="0" i="1" smtClean="0">
                                <a:latin typeface="Cambria Math" panose="02040503050406030204" pitchFamily="18" charset="0"/>
                              </a:rPr>
                              <m:t>(</m:t>
                            </m:r>
                            <m:r>
                              <a:rPr lang="en-US" sz="1600" b="0" i="1" smtClean="0">
                                <a:latin typeface="Cambria Math" panose="02040503050406030204" pitchFamily="18" charset="0"/>
                              </a:rPr>
                              <m:t>𝑋𝑖</m:t>
                            </m:r>
                            <m:r>
                              <a:rPr lang="en-US" sz="1600" b="0" i="1" smtClean="0">
                                <a:latin typeface="Cambria Math" panose="02040503050406030204" pitchFamily="18" charset="0"/>
                              </a:rPr>
                              <m:t>)∗</m:t>
                            </m:r>
                            <m:r>
                              <a:rPr lang="en-US" sz="1600" i="1">
                                <a:latin typeface="Cambria Math" panose="02040503050406030204" pitchFamily="18" charset="0"/>
                              </a:rPr>
                              <m:t>𝑄</m:t>
                            </m:r>
                            <m:r>
                              <a:rPr lang="en-US" sz="1600" b="0" i="1" smtClean="0">
                                <a:latin typeface="Cambria Math" panose="02040503050406030204" pitchFamily="18" charset="0"/>
                              </a:rPr>
                              <m:t>(</m:t>
                            </m:r>
                            <m:r>
                              <a:rPr lang="en-US" sz="1600" b="0" i="1" smtClean="0">
                                <a:latin typeface="Cambria Math" panose="02040503050406030204" pitchFamily="18" charset="0"/>
                              </a:rPr>
                              <m:t>𝑋𝑖</m:t>
                            </m:r>
                            <m:r>
                              <a:rPr lang="en-US" sz="1600" b="0" i="1" smtClean="0">
                                <a:latin typeface="Cambria Math" panose="02040503050406030204" pitchFamily="18" charset="0"/>
                              </a:rPr>
                              <m:t>)∗(1−</m:t>
                            </m:r>
                            <m:r>
                              <a:rPr lang="en-US" sz="1600" i="1">
                                <a:latin typeface="Cambria Math" panose="02040503050406030204" pitchFamily="18" charset="0"/>
                              </a:rPr>
                              <m:t>𝐷</m:t>
                            </m:r>
                            <m:r>
                              <a:rPr lang="en-US" sz="1600" b="0" i="1" smtClean="0">
                                <a:latin typeface="Cambria Math" panose="02040503050406030204" pitchFamily="18" charset="0"/>
                              </a:rPr>
                              <m:t>(</m:t>
                            </m:r>
                            <m:r>
                              <a:rPr lang="en-US" sz="1600" b="0" i="1" smtClean="0">
                                <a:latin typeface="Cambria Math" panose="02040503050406030204" pitchFamily="18" charset="0"/>
                              </a:rPr>
                              <m:t>𝑋𝑖</m:t>
                            </m:r>
                            <m:r>
                              <a:rPr lang="en-US" sz="1600" b="0" i="1" smtClean="0">
                                <a:latin typeface="Cambria Math" panose="02040503050406030204" pitchFamily="18" charset="0"/>
                              </a:rPr>
                              <m:t>))</m:t>
                            </m:r>
                          </m:e>
                        </m:d>
                      </m:e>
                    </m:nary>
                  </m:oMath>
                </a14:m>
                <a:r>
                  <a:rPr lang="en-US" sz="1600" dirty="0">
                    <a:latin typeface="Georgia" panose="02040502050405020303" pitchFamily="18" charset="0"/>
                  </a:rPr>
                  <a:t>		</a:t>
                </a:r>
                <a:r>
                  <a:rPr lang="en-US" sz="1600" i="1" dirty="0">
                    <a:latin typeface="Georgia" panose="02040502050405020303" pitchFamily="18" charset="0"/>
                  </a:rPr>
                  <a:t>P(X</a:t>
                </a:r>
                <a:r>
                  <a:rPr lang="en-US" sz="1600" i="1" baseline="-25000" dirty="0">
                    <a:latin typeface="Georgia" panose="02040502050405020303" pitchFamily="18" charset="0"/>
                  </a:rPr>
                  <a:t>i</a:t>
                </a:r>
                <a:r>
                  <a:rPr lang="en-US" sz="1600" i="1" dirty="0">
                    <a:latin typeface="Georgia" panose="02040502050405020303" pitchFamily="18" charset="0"/>
                  </a:rPr>
                  <a:t>) is product sales Price</a:t>
                </a:r>
              </a:p>
              <a:p>
                <a:r>
                  <a:rPr lang="en-US" sz="1600" i="1" dirty="0">
                    <a:latin typeface="Georgia" panose="02040502050405020303" pitchFamily="18" charset="0"/>
                  </a:rPr>
                  <a:t>																Q(X</a:t>
                </a:r>
                <a:r>
                  <a:rPr lang="en-US" sz="1600" i="1" baseline="-25000" dirty="0">
                    <a:latin typeface="Georgia" panose="02040502050405020303" pitchFamily="18" charset="0"/>
                  </a:rPr>
                  <a:t>i</a:t>
                </a:r>
                <a:r>
                  <a:rPr lang="en-US" sz="1600" i="1" dirty="0">
                    <a:latin typeface="Georgia" panose="02040502050405020303" pitchFamily="18" charset="0"/>
                  </a:rPr>
                  <a:t>) is Quantities sold for each Product</a:t>
                </a:r>
              </a:p>
              <a:p>
                <a:r>
                  <a:rPr lang="en-US" sz="1600" i="1" dirty="0">
                    <a:latin typeface="Georgia" panose="02040502050405020303" pitchFamily="18" charset="0"/>
                  </a:rPr>
                  <a:t>																D(X</a:t>
                </a:r>
                <a:r>
                  <a:rPr lang="en-US" sz="1600" i="1" baseline="-25000" dirty="0">
                    <a:latin typeface="Georgia" panose="02040502050405020303" pitchFamily="18" charset="0"/>
                  </a:rPr>
                  <a:t>i</a:t>
                </a:r>
                <a:r>
                  <a:rPr lang="en-US" sz="1600" i="1" dirty="0">
                    <a:latin typeface="Georgia" panose="02040502050405020303" pitchFamily="18" charset="0"/>
                  </a:rPr>
                  <a:t>) is the Decision variable (0 or 1)</a:t>
                </a:r>
                <a:endParaRPr lang="en-US" sz="1600" dirty="0">
                  <a:latin typeface="Georgia" panose="02040502050405020303" pitchFamily="18" charset="0"/>
                </a:endParaRPr>
              </a:p>
            </p:txBody>
          </p:sp>
        </mc:Choice>
        <mc:Fallback xmlns="">
          <p:sp>
            <p:nvSpPr>
              <p:cNvPr id="4" name="TextBox 3">
                <a:extLst>
                  <a:ext uri="{FF2B5EF4-FFF2-40B4-BE49-F238E27FC236}">
                    <a16:creationId xmlns:a16="http://schemas.microsoft.com/office/drawing/2014/main" id="{9CC1E34C-0532-4C10-AF18-4A598D24BE4C}"/>
                  </a:ext>
                </a:extLst>
              </p:cNvPr>
              <p:cNvSpPr txBox="1">
                <a:spLocks noRot="1" noChangeAspect="1" noMove="1" noResize="1" noEditPoints="1" noAdjustHandles="1" noChangeArrowheads="1" noChangeShapeType="1" noTextEdit="1"/>
              </p:cNvSpPr>
              <p:nvPr/>
            </p:nvSpPr>
            <p:spPr>
              <a:xfrm>
                <a:off x="657222" y="917896"/>
                <a:ext cx="11534407" cy="1078052"/>
              </a:xfrm>
              <a:prstGeom prst="rect">
                <a:avLst/>
              </a:prstGeom>
              <a:blipFill>
                <a:blip r:embed="rId2"/>
                <a:stretch>
                  <a:fillRect l="-317" t="-11364" b="-8523"/>
                </a:stretch>
              </a:blipFill>
            </p:spPr>
            <p:txBody>
              <a:bodyPr/>
              <a:lstStyle/>
              <a:p>
                <a:r>
                  <a:rPr lang="en-US">
                    <a:noFill/>
                  </a:rPr>
                  <a:t> </a:t>
                </a:r>
              </a:p>
            </p:txBody>
          </p:sp>
        </mc:Fallback>
      </mc:AlternateContent>
      <p:sp>
        <p:nvSpPr>
          <p:cNvPr id="5" name="TextBox 4">
            <a:extLst>
              <a:ext uri="{FF2B5EF4-FFF2-40B4-BE49-F238E27FC236}">
                <a16:creationId xmlns:a16="http://schemas.microsoft.com/office/drawing/2014/main" id="{F7AF36D1-7478-40B8-87AD-78021C0FD8F0}"/>
              </a:ext>
            </a:extLst>
          </p:cNvPr>
          <p:cNvSpPr txBox="1"/>
          <p:nvPr/>
        </p:nvSpPr>
        <p:spPr>
          <a:xfrm>
            <a:off x="625964" y="2043978"/>
            <a:ext cx="10982325" cy="584775"/>
          </a:xfrm>
          <a:prstGeom prst="rect">
            <a:avLst/>
          </a:prstGeom>
          <a:noFill/>
        </p:spPr>
        <p:txBody>
          <a:bodyPr wrap="square" rtlCol="0">
            <a:spAutoFit/>
          </a:bodyPr>
          <a:lstStyle/>
          <a:p>
            <a:r>
              <a:rPr lang="en-US" sz="1600" b="1">
                <a:solidFill>
                  <a:srgbClr val="0070C0"/>
                </a:solidFill>
                <a:latin typeface="Georgia" panose="02040502050405020303" pitchFamily="18" charset="0"/>
              </a:rPr>
              <a:t>Decision Variables:</a:t>
            </a:r>
          </a:p>
          <a:p>
            <a:r>
              <a:rPr lang="en-US" sz="1600">
                <a:latin typeface="Georgia" panose="02040502050405020303" pitchFamily="18" charset="0"/>
              </a:rPr>
              <a:t>List of X</a:t>
            </a:r>
            <a:r>
              <a:rPr lang="en-US" sz="1600" baseline="-25000">
                <a:latin typeface="Georgia" panose="02040502050405020303" pitchFamily="18" charset="0"/>
              </a:rPr>
              <a:t>i</a:t>
            </a:r>
            <a:r>
              <a:rPr lang="en-US" sz="1600">
                <a:latin typeface="Georgia" panose="02040502050405020303" pitchFamily="18" charset="0"/>
              </a:rPr>
              <a:t> to include to form PPG bundle.									</a:t>
            </a:r>
            <a:r>
              <a:rPr lang="en-US" sz="1600" i="1">
                <a:latin typeface="Georgia" panose="02040502050405020303" pitchFamily="18" charset="0"/>
              </a:rPr>
              <a:t>X</a:t>
            </a:r>
            <a:r>
              <a:rPr lang="en-US" sz="1600" i="1" baseline="-25000">
                <a:latin typeface="Georgia" panose="02040502050405020303" pitchFamily="18" charset="0"/>
              </a:rPr>
              <a:t>i</a:t>
            </a:r>
            <a:r>
              <a:rPr lang="en-US" sz="1600" i="1">
                <a:latin typeface="Georgia" panose="02040502050405020303" pitchFamily="18" charset="0"/>
              </a:rPr>
              <a:t> is individual product</a:t>
            </a:r>
          </a:p>
        </p:txBody>
      </p:sp>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33E34035-C00A-4988-93B1-1F2B9DB94F89}"/>
                  </a:ext>
                </a:extLst>
              </p:cNvPr>
              <p:cNvSpPr txBox="1"/>
              <p:nvPr/>
            </p:nvSpPr>
            <p:spPr>
              <a:xfrm>
                <a:off x="625964" y="2864997"/>
                <a:ext cx="11285061" cy="3481851"/>
              </a:xfrm>
              <a:prstGeom prst="rect">
                <a:avLst/>
              </a:prstGeom>
              <a:noFill/>
            </p:spPr>
            <p:txBody>
              <a:bodyPr wrap="square" rtlCol="0">
                <a:spAutoFit/>
              </a:bodyPr>
              <a:lstStyle/>
              <a:p>
                <a:endParaRPr lang="en-US" sz="1600" b="1" dirty="0">
                  <a:solidFill>
                    <a:srgbClr val="0070C0"/>
                  </a:solidFill>
                  <a:latin typeface="Georgia" panose="02040502050405020303" pitchFamily="18" charset="0"/>
                </a:endParaRPr>
              </a:p>
              <a:p>
                <a:r>
                  <a:rPr lang="en-US" sz="1600" b="1" dirty="0">
                    <a:solidFill>
                      <a:srgbClr val="0070C0"/>
                    </a:solidFill>
                    <a:latin typeface="Georgia" panose="02040502050405020303" pitchFamily="18" charset="0"/>
                  </a:rPr>
                  <a:t>Constraints:</a:t>
                </a:r>
              </a:p>
              <a:p>
                <a:endParaRPr lang="en-US" sz="1600" b="1" i="1" dirty="0">
                  <a:latin typeface="Georgia" panose="02040502050405020303" pitchFamily="18" charset="0"/>
                </a:endParaRPr>
              </a:p>
              <a:p>
                <a:pPr marL="342900" indent="-342900">
                  <a:buAutoNum type="arabicPeriod"/>
                </a:pPr>
                <a:r>
                  <a:rPr lang="en-US" i="1" dirty="0">
                    <a:latin typeface="Georgia" panose="02040502050405020303" pitchFamily="18" charset="0"/>
                  </a:rPr>
                  <a:t>2 ≤ n(X</a:t>
                </a:r>
                <a:r>
                  <a:rPr lang="en-US" i="1" baseline="-25000" dirty="0">
                    <a:latin typeface="Georgia" panose="02040502050405020303" pitchFamily="18" charset="0"/>
                  </a:rPr>
                  <a:t>i</a:t>
                </a:r>
                <a:r>
                  <a:rPr lang="en-US" i="1" dirty="0">
                    <a:latin typeface="Georgia" panose="02040502050405020303" pitchFamily="18" charset="0"/>
                  </a:rPr>
                  <a:t>) ≤ 4</a:t>
                </a:r>
                <a:endParaRPr lang="en-US" sz="2000" i="1" dirty="0">
                  <a:latin typeface="Georgia" panose="02040502050405020303" pitchFamily="18" charset="0"/>
                </a:endParaRPr>
              </a:p>
              <a:p>
                <a:pPr marL="342900" indent="-342900">
                  <a:buAutoNum type="arabicPeriod"/>
                </a:pPr>
                <a:endParaRPr lang="en-US" sz="1600" i="1" dirty="0">
                  <a:latin typeface="Georgia" panose="02040502050405020303" pitchFamily="18" charset="0"/>
                </a:endParaRPr>
              </a:p>
              <a:p>
                <a:pPr marL="342900" indent="-342900">
                  <a:buAutoNum type="arabicPeriod"/>
                </a:pPr>
                <a:r>
                  <a:rPr lang="en-US" sz="2400" b="1" i="1" dirty="0">
                    <a:latin typeface="Georgia" panose="02040502050405020303" pitchFamily="18" charset="0"/>
                  </a:rPr>
                  <a:t>X</a:t>
                </a:r>
                <a:r>
                  <a:rPr lang="en-US" sz="2400" b="1" i="1" baseline="-25000" dirty="0">
                    <a:latin typeface="Georgia" panose="02040502050405020303" pitchFamily="18" charset="0"/>
                  </a:rPr>
                  <a:t>i</a:t>
                </a:r>
                <a:r>
                  <a:rPr lang="en-US" sz="2400" b="1" i="1" dirty="0">
                    <a:latin typeface="Georgia" panose="02040502050405020303" pitchFamily="18" charset="0"/>
                  </a:rPr>
                  <a:t> = {0,1}</a:t>
                </a:r>
                <a:endParaRPr lang="en-US" sz="2800" b="1" i="1" dirty="0">
                  <a:latin typeface="Georgia" panose="02040502050405020303" pitchFamily="18" charset="0"/>
                </a:endParaRPr>
              </a:p>
              <a:p>
                <a:pPr marL="342900" indent="-342900">
                  <a:buAutoNum type="arabicPeriod"/>
                </a:pPr>
                <a:endParaRPr lang="en-US" sz="1600" i="1" dirty="0">
                  <a:latin typeface="Georgia" panose="02040502050405020303" pitchFamily="18" charset="0"/>
                </a:endParaRPr>
              </a:p>
              <a:p>
                <a:pPr marL="342900" indent="-342900">
                  <a:buAutoNum type="arabicPeriod"/>
                </a:pPr>
                <a14:m>
                  <m:oMath xmlns:m="http://schemas.openxmlformats.org/officeDocument/2006/math">
                    <m:nary>
                      <m:naryPr>
                        <m:chr m:val="∑"/>
                        <m:limLoc m:val="undOvr"/>
                        <m:grow m:val="on"/>
                        <m:ctrlPr>
                          <a:rPr lang="en-US" i="1" dirty="0" smtClean="0">
                            <a:latin typeface="Cambria Math" panose="02040503050406030204" pitchFamily="18" charset="0"/>
                          </a:rPr>
                        </m:ctrlPr>
                      </m:naryPr>
                      <m:sub>
                        <m:r>
                          <a:rPr lang="en-US" b="0" i="1" dirty="0" smtClean="0">
                            <a:latin typeface="Cambria Math" panose="02040503050406030204" pitchFamily="18" charset="0"/>
                          </a:rPr>
                          <m:t>𝑖</m:t>
                        </m:r>
                        <m:r>
                          <a:rPr lang="en-US" b="0" i="1" dirty="0" smtClean="0">
                            <a:latin typeface="Cambria Math" panose="02040503050406030204" pitchFamily="18" charset="0"/>
                          </a:rPr>
                          <m:t>=1</m:t>
                        </m:r>
                      </m:sub>
                      <m:sup>
                        <m:r>
                          <a:rPr lang="en-US" b="0" i="1" dirty="0" smtClean="0">
                            <a:latin typeface="Cambria Math" panose="02040503050406030204" pitchFamily="18" charset="0"/>
                          </a:rPr>
                          <m:t>𝑛</m:t>
                        </m:r>
                      </m:sup>
                      <m:e>
                        <m:r>
                          <a:rPr lang="en-US" b="0" i="1" dirty="0" smtClean="0">
                            <a:latin typeface="Cambria Math" panose="02040503050406030204" pitchFamily="18" charset="0"/>
                          </a:rPr>
                          <m:t>𝑃</m:t>
                        </m:r>
                        <m:d>
                          <m:dPr>
                            <m:ctrlPr>
                              <a:rPr lang="en-US" i="1" dirty="0" smtClean="0">
                                <a:latin typeface="Cambria Math" panose="02040503050406030204" pitchFamily="18" charset="0"/>
                              </a:rPr>
                            </m:ctrlPr>
                          </m:dPr>
                          <m:e>
                            <m:sSub>
                              <m:sSubPr>
                                <m:ctrlPr>
                                  <a:rPr lang="en-US" i="1" dirty="0" smtClean="0">
                                    <a:latin typeface="Cambria Math" panose="02040503050406030204" pitchFamily="18" charset="0"/>
                                  </a:rPr>
                                </m:ctrlPr>
                              </m:sSubPr>
                              <m:e>
                                <m:r>
                                  <a:rPr lang="en-US" b="0" i="1" dirty="0" smtClean="0">
                                    <a:latin typeface="Cambria Math" panose="02040503050406030204" pitchFamily="18" charset="0"/>
                                  </a:rPr>
                                  <m:t>𝑋</m:t>
                                </m:r>
                              </m:e>
                              <m:sub>
                                <m:r>
                                  <a:rPr lang="en-US" b="0" i="1" dirty="0" smtClean="0">
                                    <a:latin typeface="Cambria Math" panose="02040503050406030204" pitchFamily="18" charset="0"/>
                                  </a:rPr>
                                  <m:t>𝑖</m:t>
                                </m:r>
                              </m:sub>
                            </m:sSub>
                          </m:e>
                        </m:d>
                      </m:e>
                    </m:nary>
                    <m:r>
                      <a:rPr lang="en-US" b="0" i="1" dirty="0" smtClean="0">
                        <a:latin typeface="Cambria Math" panose="02040503050406030204" pitchFamily="18" charset="0"/>
                      </a:rPr>
                      <m:t>≤</m:t>
                    </m:r>
                    <m:f>
                      <m:fPr>
                        <m:ctrlPr>
                          <a:rPr lang="en-US" i="1" dirty="0" smtClean="0">
                            <a:latin typeface="Cambria Math" panose="02040503050406030204" pitchFamily="18" charset="0"/>
                          </a:rPr>
                        </m:ctrlPr>
                      </m:fPr>
                      <m:num>
                        <m:nary>
                          <m:naryPr>
                            <m:chr m:val="∑"/>
                            <m:limLoc m:val="undOvr"/>
                            <m:grow m:val="on"/>
                            <m:ctrlPr>
                              <a:rPr lang="en-US" i="1" dirty="0" smtClean="0">
                                <a:latin typeface="Cambria Math" panose="02040503050406030204" pitchFamily="18" charset="0"/>
                              </a:rPr>
                            </m:ctrlPr>
                          </m:naryPr>
                          <m:sub>
                            <m:r>
                              <a:rPr lang="en-US" b="0" i="1" dirty="0" smtClean="0">
                                <a:latin typeface="Cambria Math" panose="02040503050406030204" pitchFamily="18" charset="0"/>
                              </a:rPr>
                              <m:t>𝑗</m:t>
                            </m:r>
                            <m:r>
                              <a:rPr lang="en-US" b="0" i="1" dirty="0" smtClean="0">
                                <a:latin typeface="Cambria Math" panose="02040503050406030204" pitchFamily="18" charset="0"/>
                              </a:rPr>
                              <m:t>=1</m:t>
                            </m:r>
                          </m:sub>
                          <m:sup>
                            <m:r>
                              <a:rPr lang="en-US" b="0" i="1" dirty="0" smtClean="0">
                                <a:latin typeface="Cambria Math" panose="02040503050406030204" pitchFamily="18" charset="0"/>
                              </a:rPr>
                              <m:t>𝑁</m:t>
                            </m:r>
                          </m:sup>
                          <m:e>
                            <m:r>
                              <a:rPr lang="en-US" b="0" i="1" dirty="0" smtClean="0">
                                <a:latin typeface="Cambria Math" panose="02040503050406030204" pitchFamily="18" charset="0"/>
                              </a:rPr>
                              <m:t>𝑃</m:t>
                            </m:r>
                            <m:d>
                              <m:dPr>
                                <m:ctrlPr>
                                  <a:rPr lang="en-US" i="1" dirty="0" smtClean="0">
                                    <a:latin typeface="Cambria Math" panose="02040503050406030204" pitchFamily="18" charset="0"/>
                                  </a:rPr>
                                </m:ctrlPr>
                              </m:dPr>
                              <m:e>
                                <m:sSub>
                                  <m:sSubPr>
                                    <m:ctrlPr>
                                      <a:rPr lang="en-US" i="1" dirty="0" smtClean="0">
                                        <a:latin typeface="Cambria Math" panose="02040503050406030204" pitchFamily="18" charset="0"/>
                                      </a:rPr>
                                    </m:ctrlPr>
                                  </m:sSubPr>
                                  <m:e>
                                    <m:r>
                                      <a:rPr lang="en-US" b="0" i="1" dirty="0" smtClean="0">
                                        <a:latin typeface="Cambria Math" panose="02040503050406030204" pitchFamily="18" charset="0"/>
                                      </a:rPr>
                                      <m:t>𝑋</m:t>
                                    </m:r>
                                  </m:e>
                                  <m:sub>
                                    <m:r>
                                      <a:rPr lang="en-US" b="0" i="1" dirty="0" smtClean="0">
                                        <a:latin typeface="Cambria Math" panose="02040503050406030204" pitchFamily="18" charset="0"/>
                                      </a:rPr>
                                      <m:t>𝑗</m:t>
                                    </m:r>
                                  </m:sub>
                                </m:sSub>
                              </m:e>
                            </m:d>
                          </m:e>
                        </m:nary>
                      </m:num>
                      <m:den>
                        <m:r>
                          <a:rPr lang="en-US" b="0" i="1" dirty="0" smtClean="0">
                            <a:latin typeface="Cambria Math" panose="02040503050406030204" pitchFamily="18" charset="0"/>
                          </a:rPr>
                          <m:t>𝑁</m:t>
                        </m:r>
                      </m:den>
                    </m:f>
                    <m:r>
                      <a:rPr lang="en-US" b="0" i="1" dirty="0" smtClean="0">
                        <a:latin typeface="Cambria Math" panose="02040503050406030204" pitchFamily="18" charset="0"/>
                      </a:rPr>
                      <m:t>∗</m:t>
                    </m:r>
                    <m:r>
                      <a:rPr lang="en-US" b="0" i="1" dirty="0" smtClean="0">
                        <a:latin typeface="Cambria Math" panose="02040503050406030204" pitchFamily="18" charset="0"/>
                      </a:rPr>
                      <m:t>𝑛</m:t>
                    </m:r>
                    <m:d>
                      <m:dPr>
                        <m:ctrlPr>
                          <a:rPr lang="en-US" i="1" dirty="0" smtClean="0">
                            <a:latin typeface="Cambria Math" panose="02040503050406030204" pitchFamily="18" charset="0"/>
                          </a:rPr>
                        </m:ctrlPr>
                      </m:dPr>
                      <m:e>
                        <m:sSub>
                          <m:sSubPr>
                            <m:ctrlPr>
                              <a:rPr lang="en-US" i="1" dirty="0" smtClean="0">
                                <a:latin typeface="Cambria Math" panose="02040503050406030204" pitchFamily="18" charset="0"/>
                              </a:rPr>
                            </m:ctrlPr>
                          </m:sSubPr>
                          <m:e>
                            <m:r>
                              <a:rPr lang="en-US" b="0" i="1" dirty="0" smtClean="0">
                                <a:latin typeface="Cambria Math" panose="02040503050406030204" pitchFamily="18" charset="0"/>
                              </a:rPr>
                              <m:t>𝑋</m:t>
                            </m:r>
                          </m:e>
                          <m:sub>
                            <m:r>
                              <a:rPr lang="en-US" b="0" i="1" dirty="0" smtClean="0">
                                <a:latin typeface="Cambria Math" panose="02040503050406030204" pitchFamily="18" charset="0"/>
                              </a:rPr>
                              <m:t>𝑖</m:t>
                            </m:r>
                          </m:sub>
                        </m:sSub>
                      </m:e>
                    </m:d>
                  </m:oMath>
                </a14:m>
                <a:endParaRPr lang="en-US" sz="1600" i="1" dirty="0">
                  <a:latin typeface="Georgia" panose="02040502050405020303" pitchFamily="18" charset="0"/>
                </a:endParaRPr>
              </a:p>
              <a:p>
                <a:pPr marL="342900" indent="-342900">
                  <a:buAutoNum type="arabicPeriod"/>
                </a:pPr>
                <a:endParaRPr lang="en-US" sz="1600" i="1" dirty="0">
                  <a:latin typeface="Georgia" panose="02040502050405020303" pitchFamily="18" charset="0"/>
                </a:endParaRPr>
              </a:p>
              <a:p>
                <a:pPr marL="342900" indent="-342900">
                  <a:buAutoNum type="arabicPeriod"/>
                </a:pPr>
                <a14:m>
                  <m:oMath xmlns:m="http://schemas.openxmlformats.org/officeDocument/2006/math">
                    <m:nary>
                      <m:naryPr>
                        <m:chr m:val="∑"/>
                        <m:limLoc m:val="undOvr"/>
                        <m:grow m:val="on"/>
                        <m:ctrlPr>
                          <a:rPr lang="en-US" sz="1600" i="1" dirty="0">
                            <a:latin typeface="Cambria Math" panose="02040503050406030204" pitchFamily="18" charset="0"/>
                          </a:rPr>
                        </m:ctrlPr>
                      </m:naryPr>
                      <m:sub>
                        <m:r>
                          <a:rPr lang="en-US" sz="1600" b="0" i="1" dirty="0" smtClean="0">
                            <a:latin typeface="Cambria Math" panose="02040503050406030204" pitchFamily="18" charset="0"/>
                          </a:rPr>
                          <m:t>𝑖</m:t>
                        </m:r>
                        <m:r>
                          <a:rPr lang="en-US" sz="1600" b="0" i="1" dirty="0" smtClean="0">
                            <a:latin typeface="Cambria Math" panose="02040503050406030204" pitchFamily="18" charset="0"/>
                          </a:rPr>
                          <m:t>=1</m:t>
                        </m:r>
                      </m:sub>
                      <m:sup>
                        <m:r>
                          <a:rPr lang="en-US" sz="1600" b="0" i="1" dirty="0" smtClean="0">
                            <a:latin typeface="Cambria Math" panose="02040503050406030204" pitchFamily="18" charset="0"/>
                          </a:rPr>
                          <m:t>𝑛</m:t>
                        </m:r>
                      </m:sup>
                      <m:e>
                        <m:r>
                          <a:rPr lang="en-US" sz="1600" b="0" i="1" dirty="0" smtClean="0">
                            <a:latin typeface="Cambria Math" panose="02040503050406030204" pitchFamily="18" charset="0"/>
                          </a:rPr>
                          <m:t>𝑄</m:t>
                        </m:r>
                        <m:d>
                          <m:dPr>
                            <m:ctrlPr>
                              <a:rPr lang="en-US" sz="1600" i="1" dirty="0">
                                <a:latin typeface="Cambria Math" panose="02040503050406030204" pitchFamily="18" charset="0"/>
                              </a:rPr>
                            </m:ctrlPr>
                          </m:dPr>
                          <m:e>
                            <m:sSub>
                              <m:sSubPr>
                                <m:ctrlPr>
                                  <a:rPr lang="en-US" sz="1600" i="1" dirty="0" smtClean="0">
                                    <a:latin typeface="Cambria Math" panose="02040503050406030204" pitchFamily="18" charset="0"/>
                                  </a:rPr>
                                </m:ctrlPr>
                              </m:sSubPr>
                              <m:e>
                                <m:r>
                                  <a:rPr lang="en-US" sz="1600" b="0" i="1" dirty="0" smtClean="0">
                                    <a:latin typeface="Cambria Math" panose="02040503050406030204" pitchFamily="18" charset="0"/>
                                  </a:rPr>
                                  <m:t>𝑋</m:t>
                                </m:r>
                              </m:e>
                              <m:sub>
                                <m:r>
                                  <a:rPr lang="en-US" sz="1600" b="0" i="1" dirty="0" smtClean="0">
                                    <a:latin typeface="Cambria Math" panose="02040503050406030204" pitchFamily="18" charset="0"/>
                                  </a:rPr>
                                  <m:t>𝑖</m:t>
                                </m:r>
                              </m:sub>
                            </m:sSub>
                          </m:e>
                        </m:d>
                        <m:r>
                          <a:rPr lang="en-US" sz="1600" b="0" i="1" dirty="0" smtClean="0">
                            <a:latin typeface="Cambria Math" panose="02040503050406030204" pitchFamily="18" charset="0"/>
                          </a:rPr>
                          <m:t> ∗</m:t>
                        </m:r>
                        <m:r>
                          <a:rPr lang="en-US" sz="1600" b="0" i="1" dirty="0" smtClean="0">
                            <a:latin typeface="Cambria Math" panose="02040503050406030204" pitchFamily="18" charset="0"/>
                          </a:rPr>
                          <m:t>𝐶𝑜𝑟𝑟</m:t>
                        </m:r>
                        <m:r>
                          <a:rPr lang="en-US" sz="1600" b="0" i="1" dirty="0" smtClean="0">
                            <a:latin typeface="Cambria Math" panose="02040503050406030204" pitchFamily="18" charset="0"/>
                          </a:rPr>
                          <m:t>(</m:t>
                        </m:r>
                        <m:sSub>
                          <m:sSubPr>
                            <m:ctrlPr>
                              <a:rPr lang="en-US" sz="1600" i="1" dirty="0">
                                <a:latin typeface="Cambria Math" panose="02040503050406030204" pitchFamily="18" charset="0"/>
                              </a:rPr>
                            </m:ctrlPr>
                          </m:sSubPr>
                          <m:e>
                            <m:r>
                              <a:rPr lang="en-US" sz="1600" i="1" dirty="0">
                                <a:latin typeface="Cambria Math" panose="02040503050406030204" pitchFamily="18" charset="0"/>
                              </a:rPr>
                              <m:t>𝑋</m:t>
                            </m:r>
                          </m:e>
                          <m:sub>
                            <m:r>
                              <a:rPr lang="en-US" sz="1600" i="1" dirty="0">
                                <a:latin typeface="Cambria Math" panose="02040503050406030204" pitchFamily="18" charset="0"/>
                              </a:rPr>
                              <m:t>𝑖</m:t>
                            </m:r>
                          </m:sub>
                        </m:sSub>
                        <m:r>
                          <a:rPr lang="en-US" sz="1600" b="0" i="1" baseline="-25000" dirty="0" smtClean="0">
                            <a:latin typeface="Cambria Math" panose="02040503050406030204" pitchFamily="18" charset="0"/>
                          </a:rPr>
                          <m:t>,</m:t>
                        </m:r>
                        <m:r>
                          <a:rPr lang="en-US" sz="1600" b="0" i="1" baseline="-25000" dirty="0" smtClean="0">
                            <a:latin typeface="Cambria Math" panose="02040503050406030204" pitchFamily="18" charset="0"/>
                          </a:rPr>
                          <m:t>𝑛</m:t>
                        </m:r>
                        <m:r>
                          <a:rPr lang="en-US" sz="1600" b="0" i="1" dirty="0" smtClean="0">
                            <a:latin typeface="Cambria Math" panose="02040503050406030204" pitchFamily="18" charset="0"/>
                          </a:rPr>
                          <m:t>)</m:t>
                        </m:r>
                      </m:e>
                    </m:nary>
                    <m:r>
                      <a:rPr lang="en-US" sz="1600" b="0" i="1" dirty="0" smtClean="0">
                        <a:latin typeface="Cambria Math" panose="02040503050406030204" pitchFamily="18" charset="0"/>
                      </a:rPr>
                      <m:t>≥</m:t>
                    </m:r>
                    <m:f>
                      <m:fPr>
                        <m:ctrlPr>
                          <a:rPr lang="en-US" sz="1600" i="1" dirty="0">
                            <a:latin typeface="Cambria Math" panose="02040503050406030204" pitchFamily="18" charset="0"/>
                          </a:rPr>
                        </m:ctrlPr>
                      </m:fPr>
                      <m:num>
                        <m:nary>
                          <m:naryPr>
                            <m:chr m:val="∑"/>
                            <m:limLoc m:val="undOvr"/>
                            <m:grow m:val="on"/>
                            <m:ctrlPr>
                              <a:rPr lang="en-US" sz="1600" i="1" dirty="0">
                                <a:latin typeface="Cambria Math" panose="02040503050406030204" pitchFamily="18" charset="0"/>
                              </a:rPr>
                            </m:ctrlPr>
                          </m:naryPr>
                          <m:sub>
                            <m:r>
                              <a:rPr lang="en-US" sz="1600" b="0" i="1" dirty="0" smtClean="0">
                                <a:latin typeface="Cambria Math" panose="02040503050406030204" pitchFamily="18" charset="0"/>
                              </a:rPr>
                              <m:t>𝑗</m:t>
                            </m:r>
                            <m:r>
                              <a:rPr lang="en-US" sz="1600" b="0" i="1" dirty="0" smtClean="0">
                                <a:latin typeface="Cambria Math" panose="02040503050406030204" pitchFamily="18" charset="0"/>
                              </a:rPr>
                              <m:t>=1</m:t>
                            </m:r>
                          </m:sub>
                          <m:sup>
                            <m:r>
                              <a:rPr lang="en-US" sz="1600" b="0" i="1" dirty="0" smtClean="0">
                                <a:latin typeface="Cambria Math" panose="02040503050406030204" pitchFamily="18" charset="0"/>
                              </a:rPr>
                              <m:t>𝑁</m:t>
                            </m:r>
                          </m:sup>
                          <m:e>
                            <m:r>
                              <a:rPr lang="en-US" sz="1600" b="0" i="1" dirty="0" smtClean="0">
                                <a:latin typeface="Cambria Math" panose="02040503050406030204" pitchFamily="18" charset="0"/>
                              </a:rPr>
                              <m:t>𝑄</m:t>
                            </m:r>
                            <m:d>
                              <m:dPr>
                                <m:ctrlPr>
                                  <a:rPr lang="en-US" sz="1600" i="1" dirty="0">
                                    <a:latin typeface="Cambria Math" panose="02040503050406030204" pitchFamily="18" charset="0"/>
                                  </a:rPr>
                                </m:ctrlPr>
                              </m:dPr>
                              <m:e>
                                <m:sSub>
                                  <m:sSubPr>
                                    <m:ctrlPr>
                                      <a:rPr lang="en-US" sz="1600" i="1" dirty="0">
                                        <a:latin typeface="Cambria Math" panose="02040503050406030204" pitchFamily="18" charset="0"/>
                                      </a:rPr>
                                    </m:ctrlPr>
                                  </m:sSubPr>
                                  <m:e>
                                    <m:r>
                                      <a:rPr lang="en-US" sz="1600" b="0" i="1" dirty="0" smtClean="0">
                                        <a:latin typeface="Cambria Math" panose="02040503050406030204" pitchFamily="18" charset="0"/>
                                      </a:rPr>
                                      <m:t>𝑋</m:t>
                                    </m:r>
                                  </m:e>
                                  <m:sub>
                                    <m:r>
                                      <a:rPr lang="en-US" sz="1600" b="0" i="1" dirty="0" smtClean="0">
                                        <a:latin typeface="Cambria Math" panose="02040503050406030204" pitchFamily="18" charset="0"/>
                                      </a:rPr>
                                      <m:t>𝑗</m:t>
                                    </m:r>
                                  </m:sub>
                                </m:sSub>
                              </m:e>
                            </m:d>
                          </m:e>
                        </m:nary>
                      </m:num>
                      <m:den>
                        <m:r>
                          <a:rPr lang="en-US" sz="1600" b="0" i="1" dirty="0" smtClean="0">
                            <a:latin typeface="Cambria Math" panose="02040503050406030204" pitchFamily="18" charset="0"/>
                          </a:rPr>
                          <m:t>𝑁</m:t>
                        </m:r>
                      </m:den>
                    </m:f>
                    <m:r>
                      <a:rPr lang="en-US" sz="1600" b="0" i="1" dirty="0" smtClean="0">
                        <a:latin typeface="Cambria Math" panose="02040503050406030204" pitchFamily="18" charset="0"/>
                      </a:rPr>
                      <m:t>∗2</m:t>
                    </m:r>
                    <m:r>
                      <a:rPr lang="en-US" sz="1600" b="0" i="1" dirty="0" smtClean="0">
                        <a:latin typeface="Cambria Math" panose="02040503050406030204" pitchFamily="18" charset="0"/>
                      </a:rPr>
                      <m:t>𝑛</m:t>
                    </m:r>
                    <m:d>
                      <m:dPr>
                        <m:ctrlPr>
                          <a:rPr lang="en-US" sz="1600" i="1" dirty="0">
                            <a:latin typeface="Cambria Math" panose="02040503050406030204" pitchFamily="18" charset="0"/>
                          </a:rPr>
                        </m:ctrlPr>
                      </m:dPr>
                      <m:e>
                        <m:sSub>
                          <m:sSubPr>
                            <m:ctrlPr>
                              <a:rPr lang="en-US" sz="1600" i="1" dirty="0">
                                <a:latin typeface="Cambria Math" panose="02040503050406030204" pitchFamily="18" charset="0"/>
                              </a:rPr>
                            </m:ctrlPr>
                          </m:sSubPr>
                          <m:e>
                            <m:r>
                              <a:rPr lang="en-US" sz="1600" b="0" i="1" dirty="0" smtClean="0">
                                <a:latin typeface="Cambria Math" panose="02040503050406030204" pitchFamily="18" charset="0"/>
                              </a:rPr>
                              <m:t>𝑋</m:t>
                            </m:r>
                          </m:e>
                          <m:sub>
                            <m:r>
                              <a:rPr lang="en-US" sz="1600" b="0" i="1" dirty="0" smtClean="0">
                                <a:latin typeface="Cambria Math" panose="02040503050406030204" pitchFamily="18" charset="0"/>
                              </a:rPr>
                              <m:t>𝑖</m:t>
                            </m:r>
                          </m:sub>
                        </m:sSub>
                      </m:e>
                    </m:d>
                  </m:oMath>
                </a14:m>
                <a:endParaRPr lang="en-US" sz="1600" i="1" dirty="0">
                  <a:latin typeface="Georgia" panose="02040502050405020303" pitchFamily="18" charset="0"/>
                </a:endParaRPr>
              </a:p>
            </p:txBody>
          </p:sp>
        </mc:Choice>
        <mc:Fallback xmlns="">
          <p:sp>
            <p:nvSpPr>
              <p:cNvPr id="6" name="TextBox 5">
                <a:extLst>
                  <a:ext uri="{FF2B5EF4-FFF2-40B4-BE49-F238E27FC236}">
                    <a16:creationId xmlns:a16="http://schemas.microsoft.com/office/drawing/2014/main" id="{33E34035-C00A-4988-93B1-1F2B9DB94F89}"/>
                  </a:ext>
                </a:extLst>
              </p:cNvPr>
              <p:cNvSpPr txBox="1">
                <a:spLocks noRot="1" noChangeAspect="1" noMove="1" noResize="1" noEditPoints="1" noAdjustHandles="1" noChangeArrowheads="1" noChangeShapeType="1" noTextEdit="1"/>
              </p:cNvSpPr>
              <p:nvPr/>
            </p:nvSpPr>
            <p:spPr>
              <a:xfrm>
                <a:off x="625964" y="2864997"/>
                <a:ext cx="11285061" cy="3481851"/>
              </a:xfrm>
              <a:prstGeom prst="rect">
                <a:avLst/>
              </a:prstGeom>
              <a:blipFill>
                <a:blip r:embed="rId3"/>
                <a:stretch>
                  <a:fillRect l="-756"/>
                </a:stretch>
              </a:blipFill>
            </p:spPr>
            <p:txBody>
              <a:bodyPr/>
              <a:lstStyle/>
              <a:p>
                <a:r>
                  <a:rPr lang="en-US">
                    <a:noFill/>
                  </a:rPr>
                  <a:t> </a:t>
                </a:r>
              </a:p>
            </p:txBody>
          </p:sp>
        </mc:Fallback>
      </mc:AlternateContent>
      <p:sp>
        <p:nvSpPr>
          <p:cNvPr id="7" name="TextBox 6">
            <a:extLst>
              <a:ext uri="{FF2B5EF4-FFF2-40B4-BE49-F238E27FC236}">
                <a16:creationId xmlns:a16="http://schemas.microsoft.com/office/drawing/2014/main" id="{5EEAF805-A690-4EA3-8DD8-9AFC8002DEB1}"/>
              </a:ext>
            </a:extLst>
          </p:cNvPr>
          <p:cNvSpPr txBox="1"/>
          <p:nvPr/>
        </p:nvSpPr>
        <p:spPr>
          <a:xfrm>
            <a:off x="233082" y="251012"/>
            <a:ext cx="10941978" cy="461665"/>
          </a:xfrm>
          <a:prstGeom prst="rect">
            <a:avLst/>
          </a:prstGeom>
          <a:noFill/>
        </p:spPr>
        <p:txBody>
          <a:bodyPr wrap="square" rtlCol="0">
            <a:spAutoFit/>
          </a:bodyPr>
          <a:lstStyle/>
          <a:p>
            <a:r>
              <a:rPr lang="en-US" sz="2400" b="1" cap="all">
                <a:latin typeface="Georgia" panose="02040502050405020303" pitchFamily="18" charset="0"/>
              </a:rPr>
              <a:t>Framing of Optimization Problem</a:t>
            </a:r>
            <a:endParaRPr lang="en-US" sz="3200" b="1" cap="all">
              <a:latin typeface="Georgia" panose="02040502050405020303" pitchFamily="18" charset="0"/>
            </a:endParaRPr>
          </a:p>
        </p:txBody>
      </p:sp>
      <p:sp>
        <p:nvSpPr>
          <p:cNvPr id="8" name="Rectangle 7">
            <a:extLst>
              <a:ext uri="{FF2B5EF4-FFF2-40B4-BE49-F238E27FC236}">
                <a16:creationId xmlns:a16="http://schemas.microsoft.com/office/drawing/2014/main" id="{D2173514-11C1-4C6A-BE24-F4C22D434CF0}"/>
              </a:ext>
            </a:extLst>
          </p:cNvPr>
          <p:cNvSpPr/>
          <p:nvPr/>
        </p:nvSpPr>
        <p:spPr>
          <a:xfrm>
            <a:off x="400050" y="6812280"/>
            <a:ext cx="11791579" cy="4572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a:t>
            </a:r>
          </a:p>
        </p:txBody>
      </p:sp>
      <p:pic>
        <p:nvPicPr>
          <p:cNvPr id="9" name="Graphic 8" descr="Toothpaste">
            <a:extLst>
              <a:ext uri="{FF2B5EF4-FFF2-40B4-BE49-F238E27FC236}">
                <a16:creationId xmlns:a16="http://schemas.microsoft.com/office/drawing/2014/main" id="{3414CB37-A1B9-4BF0-8B8A-57A3E39A9EDD}"/>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6219692">
            <a:off x="-34366" y="6088478"/>
            <a:ext cx="598153" cy="598153"/>
          </a:xfrm>
          <a:prstGeom prst="rect">
            <a:avLst/>
          </a:prstGeom>
        </p:spPr>
      </p:pic>
      <p:pic>
        <p:nvPicPr>
          <p:cNvPr id="10" name="Graphic 9" descr="Snake">
            <a:extLst>
              <a:ext uri="{FF2B5EF4-FFF2-40B4-BE49-F238E27FC236}">
                <a16:creationId xmlns:a16="http://schemas.microsoft.com/office/drawing/2014/main" id="{E37C0D1C-2939-476A-9E0F-16250201EC06}"/>
              </a:ext>
            </a:extLst>
          </p:cNvPr>
          <p:cNvPicPr>
            <a:picLocks noChangeAspect="1"/>
          </p:cNvPicPr>
          <p:nvPr/>
        </p:nvPicPr>
        <p:blipFill rotWithShape="1">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rcRect l="-2" t="56027" r="47111"/>
          <a:stretch/>
        </p:blipFill>
        <p:spPr>
          <a:xfrm rot="7001259">
            <a:off x="297005" y="6680310"/>
            <a:ext cx="336423" cy="279713"/>
          </a:xfrm>
          <a:prstGeom prst="rect">
            <a:avLst/>
          </a:prstGeom>
        </p:spPr>
      </p:pic>
      <p:sp>
        <p:nvSpPr>
          <p:cNvPr id="11" name="TextBox 10">
            <a:extLst>
              <a:ext uri="{FF2B5EF4-FFF2-40B4-BE49-F238E27FC236}">
                <a16:creationId xmlns:a16="http://schemas.microsoft.com/office/drawing/2014/main" id="{C11764AA-43A6-4730-8BA5-0FFF79390C3D}"/>
              </a:ext>
            </a:extLst>
          </p:cNvPr>
          <p:cNvSpPr txBox="1"/>
          <p:nvPr/>
        </p:nvSpPr>
        <p:spPr>
          <a:xfrm>
            <a:off x="6879272" y="3411923"/>
            <a:ext cx="4506686" cy="2031325"/>
          </a:xfrm>
          <a:prstGeom prst="rect">
            <a:avLst/>
          </a:prstGeom>
          <a:noFill/>
        </p:spPr>
        <p:txBody>
          <a:bodyPr wrap="square" rtlCol="0">
            <a:spAutoFit/>
          </a:bodyPr>
          <a:lstStyle/>
          <a:p>
            <a:r>
              <a:rPr lang="en-US" b="1" dirty="0">
                <a:latin typeface="Georgia" panose="02040502050405020303" pitchFamily="18" charset="0"/>
              </a:rPr>
              <a:t>Constraint 2:</a:t>
            </a:r>
          </a:p>
          <a:p>
            <a:endParaRPr lang="en-US" dirty="0">
              <a:latin typeface="Georgia" panose="02040502050405020303" pitchFamily="18" charset="0"/>
            </a:endParaRPr>
          </a:p>
          <a:p>
            <a:r>
              <a:rPr lang="en-US" i="1" dirty="0">
                <a:latin typeface="Georgia" panose="02040502050405020303" pitchFamily="18" charset="0"/>
              </a:rPr>
              <a:t>Xi can take only binary values i.e. 0 or 1.</a:t>
            </a:r>
          </a:p>
          <a:p>
            <a:r>
              <a:rPr lang="en-US" i="1" dirty="0">
                <a:latin typeface="Georgia" panose="02040502050405020303" pitchFamily="18" charset="0"/>
              </a:rPr>
              <a:t>0 indicates that the product should not be included in the PPG whereas 1 indicates that the product should be included in the new PPG.</a:t>
            </a:r>
            <a:endParaRPr lang="en-US" dirty="0">
              <a:latin typeface="Georgia" panose="02040502050405020303" pitchFamily="18" charset="0"/>
            </a:endParaRPr>
          </a:p>
        </p:txBody>
      </p:sp>
    </p:spTree>
    <p:extLst>
      <p:ext uri="{BB962C8B-B14F-4D97-AF65-F5344CB8AC3E}">
        <p14:creationId xmlns:p14="http://schemas.microsoft.com/office/powerpoint/2010/main" val="7042312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4" name="TextBox 3">
                <a:extLst>
                  <a:ext uri="{FF2B5EF4-FFF2-40B4-BE49-F238E27FC236}">
                    <a16:creationId xmlns:a16="http://schemas.microsoft.com/office/drawing/2014/main" id="{9CC1E34C-0532-4C10-AF18-4A598D24BE4C}"/>
                  </a:ext>
                </a:extLst>
              </p:cNvPr>
              <p:cNvSpPr txBox="1"/>
              <p:nvPr/>
            </p:nvSpPr>
            <p:spPr>
              <a:xfrm>
                <a:off x="657222" y="917896"/>
                <a:ext cx="11534407" cy="1078052"/>
              </a:xfrm>
              <a:prstGeom prst="rect">
                <a:avLst/>
              </a:prstGeom>
              <a:noFill/>
            </p:spPr>
            <p:txBody>
              <a:bodyPr wrap="square" rtlCol="0">
                <a:spAutoFit/>
              </a:bodyPr>
              <a:lstStyle/>
              <a:p>
                <a:r>
                  <a:rPr lang="en-US" sz="1600" b="1" dirty="0">
                    <a:solidFill>
                      <a:srgbClr val="0070C0"/>
                    </a:solidFill>
                    <a:latin typeface="Georgia" panose="02040502050405020303" pitchFamily="18" charset="0"/>
                  </a:rPr>
                  <a:t>Objective Function:</a:t>
                </a:r>
              </a:p>
              <a:p>
                <a:r>
                  <a:rPr lang="en-US" sz="1600" dirty="0">
                    <a:latin typeface="Georgia" panose="02040502050405020303" pitchFamily="18" charset="0"/>
                  </a:rPr>
                  <a:t>Max Z = </a:t>
                </a:r>
                <a14:m>
                  <m:oMath xmlns:m="http://schemas.openxmlformats.org/officeDocument/2006/math">
                    <m:nary>
                      <m:naryPr>
                        <m:chr m:val="∑"/>
                        <m:ctrlPr>
                          <a:rPr lang="pt-BR" sz="1600" i="1">
                            <a:latin typeface="Cambria Math" panose="02040503050406030204" pitchFamily="18" charset="0"/>
                          </a:rPr>
                        </m:ctrlPr>
                      </m:naryPr>
                      <m:sub>
                        <m:r>
                          <a:rPr lang="en-US" sz="1600" b="0" i="1" smtClean="0">
                            <a:latin typeface="Cambria Math" panose="02040503050406030204" pitchFamily="18" charset="0"/>
                          </a:rPr>
                          <m:t>𝑖</m:t>
                        </m:r>
                        <m:r>
                          <a:rPr lang="pt-BR" sz="1600" i="1">
                            <a:latin typeface="Cambria Math" panose="02040503050406030204" pitchFamily="18" charset="0"/>
                          </a:rPr>
                          <m:t>=</m:t>
                        </m:r>
                        <m:r>
                          <a:rPr lang="en-US" sz="1600" b="0" i="1" smtClean="0">
                            <a:latin typeface="Cambria Math" panose="02040503050406030204" pitchFamily="18" charset="0"/>
                          </a:rPr>
                          <m:t>1</m:t>
                        </m:r>
                      </m:sub>
                      <m:sup>
                        <m:r>
                          <a:rPr lang="pt-BR" sz="1600" i="1">
                            <a:latin typeface="Cambria Math" panose="02040503050406030204" pitchFamily="18" charset="0"/>
                          </a:rPr>
                          <m:t>𝑛</m:t>
                        </m:r>
                      </m:sup>
                      <m:e>
                        <m:d>
                          <m:dPr>
                            <m:begChr m:val="["/>
                            <m:endChr m:val="]"/>
                            <m:ctrlPr>
                              <a:rPr lang="en-US" sz="1600" b="0" i="1" smtClean="0">
                                <a:latin typeface="Cambria Math" panose="02040503050406030204" pitchFamily="18" charset="0"/>
                              </a:rPr>
                            </m:ctrlPr>
                          </m:dPr>
                          <m:e>
                            <m:r>
                              <a:rPr lang="en-US" sz="1600" b="0" i="1" smtClean="0">
                                <a:latin typeface="Cambria Math" panose="02040503050406030204" pitchFamily="18" charset="0"/>
                              </a:rPr>
                              <m:t>𝑃</m:t>
                            </m:r>
                            <m:r>
                              <a:rPr lang="en-US" sz="1600" b="0" i="1" smtClean="0">
                                <a:latin typeface="Cambria Math" panose="02040503050406030204" pitchFamily="18" charset="0"/>
                              </a:rPr>
                              <m:t>(</m:t>
                            </m:r>
                            <m:r>
                              <a:rPr lang="en-US" sz="1600" b="0" i="1" smtClean="0">
                                <a:latin typeface="Cambria Math" panose="02040503050406030204" pitchFamily="18" charset="0"/>
                              </a:rPr>
                              <m:t>𝑋𝑖</m:t>
                            </m:r>
                            <m:r>
                              <a:rPr lang="en-US" sz="1600" b="0" i="1" smtClean="0">
                                <a:latin typeface="Cambria Math" panose="02040503050406030204" pitchFamily="18" charset="0"/>
                              </a:rPr>
                              <m:t>)∗</m:t>
                            </m:r>
                            <m:r>
                              <a:rPr lang="en-US" sz="1600" b="0" i="1" smtClean="0">
                                <a:latin typeface="Cambria Math" panose="02040503050406030204" pitchFamily="18" charset="0"/>
                              </a:rPr>
                              <m:t>𝑄</m:t>
                            </m:r>
                            <m:r>
                              <a:rPr lang="en-US" sz="1600" b="0" i="1" smtClean="0">
                                <a:latin typeface="Cambria Math" panose="02040503050406030204" pitchFamily="18" charset="0"/>
                              </a:rPr>
                              <m:t>(</m:t>
                            </m:r>
                            <m:r>
                              <a:rPr lang="en-US" sz="1600" b="0" i="1" smtClean="0">
                                <a:latin typeface="Cambria Math" panose="02040503050406030204" pitchFamily="18" charset="0"/>
                              </a:rPr>
                              <m:t>𝑋𝑖</m:t>
                            </m:r>
                            <m:r>
                              <a:rPr lang="en-US" sz="1600" b="0" i="1" smtClean="0">
                                <a:latin typeface="Cambria Math" panose="02040503050406030204" pitchFamily="18" charset="0"/>
                              </a:rPr>
                              <m:t>)∗</m:t>
                            </m:r>
                            <m:r>
                              <a:rPr lang="en-US" sz="1600" b="0" i="1" smtClean="0">
                                <a:latin typeface="Cambria Math" panose="02040503050406030204" pitchFamily="18" charset="0"/>
                              </a:rPr>
                              <m:t>𝐷</m:t>
                            </m:r>
                            <m:r>
                              <a:rPr lang="en-US" sz="1600" b="0" i="1" smtClean="0">
                                <a:latin typeface="Cambria Math" panose="02040503050406030204" pitchFamily="18" charset="0"/>
                              </a:rPr>
                              <m:t>(</m:t>
                            </m:r>
                            <m:r>
                              <a:rPr lang="en-US" sz="1600" b="0" i="1" smtClean="0">
                                <a:latin typeface="Cambria Math" panose="02040503050406030204" pitchFamily="18" charset="0"/>
                              </a:rPr>
                              <m:t>𝑋𝑖</m:t>
                            </m:r>
                            <m:r>
                              <a:rPr lang="en-US" sz="1600" b="0" i="1" smtClean="0">
                                <a:latin typeface="Cambria Math" panose="02040503050406030204" pitchFamily="18" charset="0"/>
                              </a:rPr>
                              <m:t>)∗</m:t>
                            </m:r>
                            <m:d>
                              <m:dPr>
                                <m:ctrlPr>
                                  <a:rPr lang="en-US" sz="1600" b="0" i="1" smtClean="0">
                                    <a:latin typeface="Cambria Math" panose="02040503050406030204" pitchFamily="18" charset="0"/>
                                  </a:rPr>
                                </m:ctrlPr>
                              </m:dPr>
                              <m:e>
                                <m:r>
                                  <a:rPr lang="en-US" sz="1600" b="0" i="1" smtClean="0">
                                    <a:latin typeface="Cambria Math" panose="02040503050406030204" pitchFamily="18" charset="0"/>
                                  </a:rPr>
                                  <m:t>1.1</m:t>
                                </m:r>
                              </m:e>
                            </m:d>
                          </m:e>
                        </m:d>
                        <m:r>
                          <a:rPr lang="en-US" sz="1600" b="0" i="1" smtClean="0">
                            <a:latin typeface="Cambria Math" panose="02040503050406030204" pitchFamily="18" charset="0"/>
                          </a:rPr>
                          <m:t>+</m:t>
                        </m:r>
                        <m:d>
                          <m:dPr>
                            <m:begChr m:val="["/>
                            <m:endChr m:val="]"/>
                            <m:ctrlPr>
                              <a:rPr lang="en-US" sz="1600" i="1" smtClean="0">
                                <a:latin typeface="Cambria Math" panose="02040503050406030204" pitchFamily="18" charset="0"/>
                              </a:rPr>
                            </m:ctrlPr>
                          </m:dPr>
                          <m:e>
                            <m:r>
                              <a:rPr lang="en-US" sz="1600" b="0" i="1" smtClean="0">
                                <a:latin typeface="Cambria Math" panose="02040503050406030204" pitchFamily="18" charset="0"/>
                              </a:rPr>
                              <m:t>𝑃</m:t>
                            </m:r>
                            <m:r>
                              <a:rPr lang="en-US" sz="1600" b="0" i="1" smtClean="0">
                                <a:latin typeface="Cambria Math" panose="02040503050406030204" pitchFamily="18" charset="0"/>
                              </a:rPr>
                              <m:t>(</m:t>
                            </m:r>
                            <m:r>
                              <a:rPr lang="en-US" sz="1600" b="0" i="1" smtClean="0">
                                <a:latin typeface="Cambria Math" panose="02040503050406030204" pitchFamily="18" charset="0"/>
                              </a:rPr>
                              <m:t>𝑋𝑖</m:t>
                            </m:r>
                            <m:r>
                              <a:rPr lang="en-US" sz="1600" b="0" i="1" smtClean="0">
                                <a:latin typeface="Cambria Math" panose="02040503050406030204" pitchFamily="18" charset="0"/>
                              </a:rPr>
                              <m:t>)∗</m:t>
                            </m:r>
                            <m:r>
                              <a:rPr lang="en-US" sz="1600" i="1">
                                <a:latin typeface="Cambria Math" panose="02040503050406030204" pitchFamily="18" charset="0"/>
                              </a:rPr>
                              <m:t>𝑄</m:t>
                            </m:r>
                            <m:r>
                              <a:rPr lang="en-US" sz="1600" b="0" i="1" smtClean="0">
                                <a:latin typeface="Cambria Math" panose="02040503050406030204" pitchFamily="18" charset="0"/>
                              </a:rPr>
                              <m:t>(</m:t>
                            </m:r>
                            <m:r>
                              <a:rPr lang="en-US" sz="1600" b="0" i="1" smtClean="0">
                                <a:latin typeface="Cambria Math" panose="02040503050406030204" pitchFamily="18" charset="0"/>
                              </a:rPr>
                              <m:t>𝑋𝑖</m:t>
                            </m:r>
                            <m:r>
                              <a:rPr lang="en-US" sz="1600" b="0" i="1" smtClean="0">
                                <a:latin typeface="Cambria Math" panose="02040503050406030204" pitchFamily="18" charset="0"/>
                              </a:rPr>
                              <m:t>)∗(1−</m:t>
                            </m:r>
                            <m:r>
                              <a:rPr lang="en-US" sz="1600" i="1">
                                <a:latin typeface="Cambria Math" panose="02040503050406030204" pitchFamily="18" charset="0"/>
                              </a:rPr>
                              <m:t>𝐷</m:t>
                            </m:r>
                            <m:r>
                              <a:rPr lang="en-US" sz="1600" b="0" i="1" smtClean="0">
                                <a:latin typeface="Cambria Math" panose="02040503050406030204" pitchFamily="18" charset="0"/>
                              </a:rPr>
                              <m:t>(</m:t>
                            </m:r>
                            <m:r>
                              <a:rPr lang="en-US" sz="1600" b="0" i="1" smtClean="0">
                                <a:latin typeface="Cambria Math" panose="02040503050406030204" pitchFamily="18" charset="0"/>
                              </a:rPr>
                              <m:t>𝑋𝑖</m:t>
                            </m:r>
                            <m:r>
                              <a:rPr lang="en-US" sz="1600" b="0" i="1" smtClean="0">
                                <a:latin typeface="Cambria Math" panose="02040503050406030204" pitchFamily="18" charset="0"/>
                              </a:rPr>
                              <m:t>))</m:t>
                            </m:r>
                          </m:e>
                        </m:d>
                      </m:e>
                    </m:nary>
                  </m:oMath>
                </a14:m>
                <a:r>
                  <a:rPr lang="en-US" sz="1600" dirty="0">
                    <a:latin typeface="Georgia" panose="02040502050405020303" pitchFamily="18" charset="0"/>
                  </a:rPr>
                  <a:t>		</a:t>
                </a:r>
                <a:r>
                  <a:rPr lang="en-US" sz="1600" i="1" dirty="0">
                    <a:latin typeface="Georgia" panose="02040502050405020303" pitchFamily="18" charset="0"/>
                  </a:rPr>
                  <a:t>P(X</a:t>
                </a:r>
                <a:r>
                  <a:rPr lang="en-US" sz="1600" i="1" baseline="-25000" dirty="0">
                    <a:latin typeface="Georgia" panose="02040502050405020303" pitchFamily="18" charset="0"/>
                  </a:rPr>
                  <a:t>i</a:t>
                </a:r>
                <a:r>
                  <a:rPr lang="en-US" sz="1600" i="1" dirty="0">
                    <a:latin typeface="Georgia" panose="02040502050405020303" pitchFamily="18" charset="0"/>
                  </a:rPr>
                  <a:t>) is product sales Price</a:t>
                </a:r>
              </a:p>
              <a:p>
                <a:r>
                  <a:rPr lang="en-US" sz="1600" i="1" dirty="0">
                    <a:latin typeface="Georgia" panose="02040502050405020303" pitchFamily="18" charset="0"/>
                  </a:rPr>
                  <a:t>																Q(X</a:t>
                </a:r>
                <a:r>
                  <a:rPr lang="en-US" sz="1600" i="1" baseline="-25000" dirty="0">
                    <a:latin typeface="Georgia" panose="02040502050405020303" pitchFamily="18" charset="0"/>
                  </a:rPr>
                  <a:t>i</a:t>
                </a:r>
                <a:r>
                  <a:rPr lang="en-US" sz="1600" i="1" dirty="0">
                    <a:latin typeface="Georgia" panose="02040502050405020303" pitchFamily="18" charset="0"/>
                  </a:rPr>
                  <a:t>) is Quantities sold for each Product</a:t>
                </a:r>
              </a:p>
              <a:p>
                <a:r>
                  <a:rPr lang="en-US" sz="1600" i="1" dirty="0">
                    <a:latin typeface="Georgia" panose="02040502050405020303" pitchFamily="18" charset="0"/>
                  </a:rPr>
                  <a:t>																D(X</a:t>
                </a:r>
                <a:r>
                  <a:rPr lang="en-US" sz="1600" i="1" baseline="-25000" dirty="0">
                    <a:latin typeface="Georgia" panose="02040502050405020303" pitchFamily="18" charset="0"/>
                  </a:rPr>
                  <a:t>i</a:t>
                </a:r>
                <a:r>
                  <a:rPr lang="en-US" sz="1600" i="1" dirty="0">
                    <a:latin typeface="Georgia" panose="02040502050405020303" pitchFamily="18" charset="0"/>
                  </a:rPr>
                  <a:t>) is the Decision variable (0 or 1)</a:t>
                </a:r>
                <a:endParaRPr lang="en-US" sz="1600" dirty="0">
                  <a:latin typeface="Georgia" panose="02040502050405020303" pitchFamily="18" charset="0"/>
                </a:endParaRPr>
              </a:p>
            </p:txBody>
          </p:sp>
        </mc:Choice>
        <mc:Fallback xmlns="">
          <p:sp>
            <p:nvSpPr>
              <p:cNvPr id="4" name="TextBox 3">
                <a:extLst>
                  <a:ext uri="{FF2B5EF4-FFF2-40B4-BE49-F238E27FC236}">
                    <a16:creationId xmlns:a16="http://schemas.microsoft.com/office/drawing/2014/main" id="{9CC1E34C-0532-4C10-AF18-4A598D24BE4C}"/>
                  </a:ext>
                </a:extLst>
              </p:cNvPr>
              <p:cNvSpPr txBox="1">
                <a:spLocks noRot="1" noChangeAspect="1" noMove="1" noResize="1" noEditPoints="1" noAdjustHandles="1" noChangeArrowheads="1" noChangeShapeType="1" noTextEdit="1"/>
              </p:cNvSpPr>
              <p:nvPr/>
            </p:nvSpPr>
            <p:spPr>
              <a:xfrm>
                <a:off x="657222" y="917896"/>
                <a:ext cx="11534407" cy="1078052"/>
              </a:xfrm>
              <a:prstGeom prst="rect">
                <a:avLst/>
              </a:prstGeom>
              <a:blipFill>
                <a:blip r:embed="rId2"/>
                <a:stretch>
                  <a:fillRect l="-317" t="-11364" b="-8523"/>
                </a:stretch>
              </a:blipFill>
            </p:spPr>
            <p:txBody>
              <a:bodyPr/>
              <a:lstStyle/>
              <a:p>
                <a:r>
                  <a:rPr lang="en-US">
                    <a:noFill/>
                  </a:rPr>
                  <a:t> </a:t>
                </a:r>
              </a:p>
            </p:txBody>
          </p:sp>
        </mc:Fallback>
      </mc:AlternateContent>
      <p:sp>
        <p:nvSpPr>
          <p:cNvPr id="5" name="TextBox 4">
            <a:extLst>
              <a:ext uri="{FF2B5EF4-FFF2-40B4-BE49-F238E27FC236}">
                <a16:creationId xmlns:a16="http://schemas.microsoft.com/office/drawing/2014/main" id="{F7AF36D1-7478-40B8-87AD-78021C0FD8F0}"/>
              </a:ext>
            </a:extLst>
          </p:cNvPr>
          <p:cNvSpPr txBox="1"/>
          <p:nvPr/>
        </p:nvSpPr>
        <p:spPr>
          <a:xfrm>
            <a:off x="625964" y="2043978"/>
            <a:ext cx="10982325" cy="584775"/>
          </a:xfrm>
          <a:prstGeom prst="rect">
            <a:avLst/>
          </a:prstGeom>
          <a:noFill/>
        </p:spPr>
        <p:txBody>
          <a:bodyPr wrap="square" rtlCol="0">
            <a:spAutoFit/>
          </a:bodyPr>
          <a:lstStyle/>
          <a:p>
            <a:r>
              <a:rPr lang="en-US" sz="1600" b="1">
                <a:solidFill>
                  <a:srgbClr val="0070C0"/>
                </a:solidFill>
                <a:latin typeface="Georgia" panose="02040502050405020303" pitchFamily="18" charset="0"/>
              </a:rPr>
              <a:t>Decision Variables:</a:t>
            </a:r>
          </a:p>
          <a:p>
            <a:r>
              <a:rPr lang="en-US" sz="1600">
                <a:latin typeface="Georgia" panose="02040502050405020303" pitchFamily="18" charset="0"/>
              </a:rPr>
              <a:t>List of X</a:t>
            </a:r>
            <a:r>
              <a:rPr lang="en-US" sz="1600" baseline="-25000">
                <a:latin typeface="Georgia" panose="02040502050405020303" pitchFamily="18" charset="0"/>
              </a:rPr>
              <a:t>i</a:t>
            </a:r>
            <a:r>
              <a:rPr lang="en-US" sz="1600">
                <a:latin typeface="Georgia" panose="02040502050405020303" pitchFamily="18" charset="0"/>
              </a:rPr>
              <a:t> to include to form PPG bundle.									</a:t>
            </a:r>
            <a:r>
              <a:rPr lang="en-US" sz="1600" i="1">
                <a:latin typeface="Georgia" panose="02040502050405020303" pitchFamily="18" charset="0"/>
              </a:rPr>
              <a:t>X</a:t>
            </a:r>
            <a:r>
              <a:rPr lang="en-US" sz="1600" i="1" baseline="-25000">
                <a:latin typeface="Georgia" panose="02040502050405020303" pitchFamily="18" charset="0"/>
              </a:rPr>
              <a:t>i</a:t>
            </a:r>
            <a:r>
              <a:rPr lang="en-US" sz="1600" i="1">
                <a:latin typeface="Georgia" panose="02040502050405020303" pitchFamily="18" charset="0"/>
              </a:rPr>
              <a:t> is individual product</a:t>
            </a:r>
          </a:p>
        </p:txBody>
      </p:sp>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33E34035-C00A-4988-93B1-1F2B9DB94F89}"/>
                  </a:ext>
                </a:extLst>
              </p:cNvPr>
              <p:cNvSpPr txBox="1"/>
              <p:nvPr/>
            </p:nvSpPr>
            <p:spPr>
              <a:xfrm>
                <a:off x="625964" y="2864997"/>
                <a:ext cx="11285061" cy="3706592"/>
              </a:xfrm>
              <a:prstGeom prst="rect">
                <a:avLst/>
              </a:prstGeom>
              <a:noFill/>
            </p:spPr>
            <p:txBody>
              <a:bodyPr wrap="square" rtlCol="0">
                <a:spAutoFit/>
              </a:bodyPr>
              <a:lstStyle/>
              <a:p>
                <a:endParaRPr lang="en-US" sz="1600" b="1" dirty="0">
                  <a:solidFill>
                    <a:srgbClr val="0070C0"/>
                  </a:solidFill>
                  <a:latin typeface="Georgia" panose="02040502050405020303" pitchFamily="18" charset="0"/>
                </a:endParaRPr>
              </a:p>
              <a:p>
                <a:r>
                  <a:rPr lang="en-US" sz="1600" b="1" dirty="0">
                    <a:solidFill>
                      <a:srgbClr val="0070C0"/>
                    </a:solidFill>
                    <a:latin typeface="Georgia" panose="02040502050405020303" pitchFamily="18" charset="0"/>
                  </a:rPr>
                  <a:t>Constraints:</a:t>
                </a:r>
              </a:p>
              <a:p>
                <a:endParaRPr lang="en-US" sz="1600" b="1" i="1" dirty="0">
                  <a:latin typeface="Georgia" panose="02040502050405020303" pitchFamily="18" charset="0"/>
                </a:endParaRPr>
              </a:p>
              <a:p>
                <a:pPr marL="342900" indent="-342900">
                  <a:buAutoNum type="arabicPeriod"/>
                </a:pPr>
                <a:r>
                  <a:rPr lang="en-US" i="1" dirty="0">
                    <a:latin typeface="Georgia" panose="02040502050405020303" pitchFamily="18" charset="0"/>
                  </a:rPr>
                  <a:t>2 ≤ n(X</a:t>
                </a:r>
                <a:r>
                  <a:rPr lang="en-US" i="1" baseline="-25000" dirty="0">
                    <a:latin typeface="Georgia" panose="02040502050405020303" pitchFamily="18" charset="0"/>
                  </a:rPr>
                  <a:t>i</a:t>
                </a:r>
                <a:r>
                  <a:rPr lang="en-US" i="1" dirty="0">
                    <a:latin typeface="Georgia" panose="02040502050405020303" pitchFamily="18" charset="0"/>
                  </a:rPr>
                  <a:t>) ≤ 4</a:t>
                </a:r>
                <a:endParaRPr lang="en-US" sz="2000" i="1" dirty="0">
                  <a:latin typeface="Georgia" panose="02040502050405020303" pitchFamily="18" charset="0"/>
                </a:endParaRPr>
              </a:p>
              <a:p>
                <a:pPr marL="342900" indent="-342900">
                  <a:buAutoNum type="arabicPeriod"/>
                </a:pPr>
                <a:endParaRPr lang="en-US" sz="1600" i="1" dirty="0">
                  <a:latin typeface="Georgia" panose="02040502050405020303" pitchFamily="18" charset="0"/>
                </a:endParaRPr>
              </a:p>
              <a:p>
                <a:pPr marL="342900" indent="-342900">
                  <a:buAutoNum type="arabicPeriod"/>
                </a:pPr>
                <a:r>
                  <a:rPr lang="en-US" i="1" dirty="0">
                    <a:latin typeface="Georgia" panose="02040502050405020303" pitchFamily="18" charset="0"/>
                  </a:rPr>
                  <a:t>X</a:t>
                </a:r>
                <a:r>
                  <a:rPr lang="en-US" i="1" baseline="-25000" dirty="0">
                    <a:latin typeface="Georgia" panose="02040502050405020303" pitchFamily="18" charset="0"/>
                  </a:rPr>
                  <a:t>i</a:t>
                </a:r>
                <a:r>
                  <a:rPr lang="en-US" i="1" dirty="0">
                    <a:latin typeface="Georgia" panose="02040502050405020303" pitchFamily="18" charset="0"/>
                  </a:rPr>
                  <a:t> = {0,1}</a:t>
                </a:r>
                <a:endParaRPr lang="en-US" sz="2000" i="1" dirty="0">
                  <a:latin typeface="Georgia" panose="02040502050405020303" pitchFamily="18" charset="0"/>
                </a:endParaRPr>
              </a:p>
              <a:p>
                <a:pPr marL="342900" indent="-342900">
                  <a:buAutoNum type="arabicPeriod"/>
                </a:pPr>
                <a:endParaRPr lang="en-US" sz="1600" i="1" dirty="0">
                  <a:latin typeface="Georgia" panose="02040502050405020303" pitchFamily="18" charset="0"/>
                </a:endParaRPr>
              </a:p>
              <a:p>
                <a:pPr marL="342900" indent="-342900">
                  <a:buAutoNum type="arabicPeriod"/>
                </a:pPr>
                <a14:m>
                  <m:oMath xmlns:m="http://schemas.openxmlformats.org/officeDocument/2006/math">
                    <m:nary>
                      <m:naryPr>
                        <m:chr m:val="∑"/>
                        <m:limLoc m:val="undOvr"/>
                        <m:grow m:val="on"/>
                        <m:ctrlPr>
                          <a:rPr lang="en-US" sz="2400" b="1" i="1" dirty="0" smtClean="0">
                            <a:latin typeface="Cambria Math" panose="02040503050406030204" pitchFamily="18" charset="0"/>
                          </a:rPr>
                        </m:ctrlPr>
                      </m:naryPr>
                      <m:sub>
                        <m:r>
                          <a:rPr lang="en-US" sz="2400" b="1" i="1" dirty="0" smtClean="0">
                            <a:latin typeface="Cambria Math" panose="02040503050406030204" pitchFamily="18" charset="0"/>
                          </a:rPr>
                          <m:t>𝒊</m:t>
                        </m:r>
                        <m:r>
                          <a:rPr lang="en-US" sz="2400" b="1" i="1" dirty="0" smtClean="0">
                            <a:latin typeface="Cambria Math" panose="02040503050406030204" pitchFamily="18" charset="0"/>
                          </a:rPr>
                          <m:t>=</m:t>
                        </m:r>
                        <m:r>
                          <a:rPr lang="en-US" sz="2400" b="1" i="1" dirty="0" smtClean="0">
                            <a:latin typeface="Cambria Math" panose="02040503050406030204" pitchFamily="18" charset="0"/>
                          </a:rPr>
                          <m:t>𝟏</m:t>
                        </m:r>
                      </m:sub>
                      <m:sup>
                        <m:r>
                          <a:rPr lang="en-US" sz="2400" b="1" i="1" dirty="0" smtClean="0">
                            <a:latin typeface="Cambria Math" panose="02040503050406030204" pitchFamily="18" charset="0"/>
                          </a:rPr>
                          <m:t>𝒏</m:t>
                        </m:r>
                      </m:sup>
                      <m:e>
                        <m:r>
                          <a:rPr lang="en-US" sz="2400" b="1" i="1" dirty="0" smtClean="0">
                            <a:latin typeface="Cambria Math" panose="02040503050406030204" pitchFamily="18" charset="0"/>
                          </a:rPr>
                          <m:t>𝑷</m:t>
                        </m:r>
                        <m:d>
                          <m:dPr>
                            <m:ctrlPr>
                              <a:rPr lang="en-US" sz="2400" b="1" i="1" dirty="0" smtClean="0">
                                <a:latin typeface="Cambria Math" panose="02040503050406030204" pitchFamily="18" charset="0"/>
                              </a:rPr>
                            </m:ctrlPr>
                          </m:dPr>
                          <m:e>
                            <m:sSub>
                              <m:sSubPr>
                                <m:ctrlPr>
                                  <a:rPr lang="en-US" sz="2400" b="1" i="1" dirty="0" smtClean="0">
                                    <a:latin typeface="Cambria Math" panose="02040503050406030204" pitchFamily="18" charset="0"/>
                                  </a:rPr>
                                </m:ctrlPr>
                              </m:sSubPr>
                              <m:e>
                                <m:r>
                                  <a:rPr lang="en-US" sz="2400" b="1" i="1" dirty="0" smtClean="0">
                                    <a:latin typeface="Cambria Math" panose="02040503050406030204" pitchFamily="18" charset="0"/>
                                  </a:rPr>
                                  <m:t>𝑿</m:t>
                                </m:r>
                              </m:e>
                              <m:sub>
                                <m:r>
                                  <a:rPr lang="en-US" sz="2400" b="1" i="1" dirty="0" smtClean="0">
                                    <a:latin typeface="Cambria Math" panose="02040503050406030204" pitchFamily="18" charset="0"/>
                                  </a:rPr>
                                  <m:t>𝒊</m:t>
                                </m:r>
                              </m:sub>
                            </m:sSub>
                          </m:e>
                        </m:d>
                      </m:e>
                    </m:nary>
                    <m:r>
                      <a:rPr lang="en-US" sz="2400" b="1" i="1" dirty="0" smtClean="0">
                        <a:latin typeface="Cambria Math" panose="02040503050406030204" pitchFamily="18" charset="0"/>
                      </a:rPr>
                      <m:t>≤</m:t>
                    </m:r>
                    <m:f>
                      <m:fPr>
                        <m:ctrlPr>
                          <a:rPr lang="en-US" sz="2400" b="1" i="1" dirty="0" smtClean="0">
                            <a:latin typeface="Cambria Math" panose="02040503050406030204" pitchFamily="18" charset="0"/>
                          </a:rPr>
                        </m:ctrlPr>
                      </m:fPr>
                      <m:num>
                        <m:nary>
                          <m:naryPr>
                            <m:chr m:val="∑"/>
                            <m:limLoc m:val="undOvr"/>
                            <m:grow m:val="on"/>
                            <m:ctrlPr>
                              <a:rPr lang="en-US" sz="2400" b="1" i="1" dirty="0" smtClean="0">
                                <a:latin typeface="Cambria Math" panose="02040503050406030204" pitchFamily="18" charset="0"/>
                              </a:rPr>
                            </m:ctrlPr>
                          </m:naryPr>
                          <m:sub>
                            <m:r>
                              <a:rPr lang="en-US" sz="2400" b="1" i="1" dirty="0" smtClean="0">
                                <a:latin typeface="Cambria Math" panose="02040503050406030204" pitchFamily="18" charset="0"/>
                              </a:rPr>
                              <m:t>𝒋</m:t>
                            </m:r>
                            <m:r>
                              <a:rPr lang="en-US" sz="2400" b="1" i="1" dirty="0" smtClean="0">
                                <a:latin typeface="Cambria Math" panose="02040503050406030204" pitchFamily="18" charset="0"/>
                              </a:rPr>
                              <m:t>=</m:t>
                            </m:r>
                            <m:r>
                              <a:rPr lang="en-US" sz="2400" b="1" i="1" dirty="0" smtClean="0">
                                <a:latin typeface="Cambria Math" panose="02040503050406030204" pitchFamily="18" charset="0"/>
                              </a:rPr>
                              <m:t>𝟏</m:t>
                            </m:r>
                          </m:sub>
                          <m:sup>
                            <m:r>
                              <a:rPr lang="en-US" sz="2400" b="1" i="1" dirty="0" smtClean="0">
                                <a:latin typeface="Cambria Math" panose="02040503050406030204" pitchFamily="18" charset="0"/>
                              </a:rPr>
                              <m:t>𝑵</m:t>
                            </m:r>
                          </m:sup>
                          <m:e>
                            <m:r>
                              <a:rPr lang="en-US" sz="2400" b="1" i="1" dirty="0" smtClean="0">
                                <a:latin typeface="Cambria Math" panose="02040503050406030204" pitchFamily="18" charset="0"/>
                              </a:rPr>
                              <m:t>𝑷</m:t>
                            </m:r>
                            <m:d>
                              <m:dPr>
                                <m:ctrlPr>
                                  <a:rPr lang="en-US" sz="2400" b="1" i="1" dirty="0" smtClean="0">
                                    <a:latin typeface="Cambria Math" panose="02040503050406030204" pitchFamily="18" charset="0"/>
                                  </a:rPr>
                                </m:ctrlPr>
                              </m:dPr>
                              <m:e>
                                <m:sSub>
                                  <m:sSubPr>
                                    <m:ctrlPr>
                                      <a:rPr lang="en-US" sz="2400" b="1" i="1" dirty="0" smtClean="0">
                                        <a:latin typeface="Cambria Math" panose="02040503050406030204" pitchFamily="18" charset="0"/>
                                      </a:rPr>
                                    </m:ctrlPr>
                                  </m:sSubPr>
                                  <m:e>
                                    <m:r>
                                      <a:rPr lang="en-US" sz="2400" b="1" i="1" dirty="0" smtClean="0">
                                        <a:latin typeface="Cambria Math" panose="02040503050406030204" pitchFamily="18" charset="0"/>
                                      </a:rPr>
                                      <m:t>𝑿</m:t>
                                    </m:r>
                                  </m:e>
                                  <m:sub>
                                    <m:r>
                                      <a:rPr lang="en-US" sz="2400" b="1" i="1" dirty="0" smtClean="0">
                                        <a:latin typeface="Cambria Math" panose="02040503050406030204" pitchFamily="18" charset="0"/>
                                      </a:rPr>
                                      <m:t>𝒋</m:t>
                                    </m:r>
                                  </m:sub>
                                </m:sSub>
                              </m:e>
                            </m:d>
                          </m:e>
                        </m:nary>
                      </m:num>
                      <m:den>
                        <m:r>
                          <a:rPr lang="en-US" sz="2400" b="1" i="1" dirty="0" smtClean="0">
                            <a:latin typeface="Cambria Math" panose="02040503050406030204" pitchFamily="18" charset="0"/>
                          </a:rPr>
                          <m:t>𝑵</m:t>
                        </m:r>
                      </m:den>
                    </m:f>
                    <m:r>
                      <a:rPr lang="en-US" sz="2400" b="1" i="1" dirty="0" smtClean="0">
                        <a:latin typeface="Cambria Math" panose="02040503050406030204" pitchFamily="18" charset="0"/>
                      </a:rPr>
                      <m:t>∗</m:t>
                    </m:r>
                    <m:r>
                      <a:rPr lang="en-US" sz="2400" b="1" i="1" dirty="0" smtClean="0">
                        <a:latin typeface="Cambria Math" panose="02040503050406030204" pitchFamily="18" charset="0"/>
                      </a:rPr>
                      <m:t>𝒏</m:t>
                    </m:r>
                    <m:d>
                      <m:dPr>
                        <m:ctrlPr>
                          <a:rPr lang="en-US" sz="2400" b="1" i="1" dirty="0" smtClean="0">
                            <a:latin typeface="Cambria Math" panose="02040503050406030204" pitchFamily="18" charset="0"/>
                          </a:rPr>
                        </m:ctrlPr>
                      </m:dPr>
                      <m:e>
                        <m:sSub>
                          <m:sSubPr>
                            <m:ctrlPr>
                              <a:rPr lang="en-US" sz="2400" b="1" i="1" dirty="0" smtClean="0">
                                <a:latin typeface="Cambria Math" panose="02040503050406030204" pitchFamily="18" charset="0"/>
                              </a:rPr>
                            </m:ctrlPr>
                          </m:sSubPr>
                          <m:e>
                            <m:r>
                              <a:rPr lang="en-US" sz="2400" b="1" i="1" dirty="0" smtClean="0">
                                <a:latin typeface="Cambria Math" panose="02040503050406030204" pitchFamily="18" charset="0"/>
                              </a:rPr>
                              <m:t>𝑿</m:t>
                            </m:r>
                          </m:e>
                          <m:sub>
                            <m:r>
                              <a:rPr lang="en-US" sz="2400" b="1" i="1" dirty="0" smtClean="0">
                                <a:latin typeface="Cambria Math" panose="02040503050406030204" pitchFamily="18" charset="0"/>
                              </a:rPr>
                              <m:t>𝒊</m:t>
                            </m:r>
                          </m:sub>
                        </m:sSub>
                      </m:e>
                    </m:d>
                  </m:oMath>
                </a14:m>
                <a:endParaRPr lang="en-US" sz="1600" b="1" i="1" dirty="0">
                  <a:latin typeface="Georgia" panose="02040502050405020303" pitchFamily="18" charset="0"/>
                </a:endParaRPr>
              </a:p>
              <a:p>
                <a:pPr marL="342900" indent="-342900">
                  <a:buAutoNum type="arabicPeriod"/>
                </a:pPr>
                <a:endParaRPr lang="en-US" sz="1600" i="1" dirty="0">
                  <a:latin typeface="Georgia" panose="02040502050405020303" pitchFamily="18" charset="0"/>
                </a:endParaRPr>
              </a:p>
              <a:p>
                <a:pPr marL="342900" indent="-342900">
                  <a:buAutoNum type="arabicPeriod"/>
                </a:pPr>
                <a14:m>
                  <m:oMath xmlns:m="http://schemas.openxmlformats.org/officeDocument/2006/math">
                    <m:nary>
                      <m:naryPr>
                        <m:chr m:val="∑"/>
                        <m:limLoc m:val="undOvr"/>
                        <m:grow m:val="on"/>
                        <m:ctrlPr>
                          <a:rPr lang="en-US" sz="1600" i="1" dirty="0">
                            <a:latin typeface="Cambria Math" panose="02040503050406030204" pitchFamily="18" charset="0"/>
                          </a:rPr>
                        </m:ctrlPr>
                      </m:naryPr>
                      <m:sub>
                        <m:r>
                          <a:rPr lang="en-US" sz="1600" b="0" i="1" dirty="0" smtClean="0">
                            <a:latin typeface="Cambria Math" panose="02040503050406030204" pitchFamily="18" charset="0"/>
                          </a:rPr>
                          <m:t>𝑖</m:t>
                        </m:r>
                        <m:r>
                          <a:rPr lang="en-US" sz="1600" b="0" i="1" dirty="0" smtClean="0">
                            <a:latin typeface="Cambria Math" panose="02040503050406030204" pitchFamily="18" charset="0"/>
                          </a:rPr>
                          <m:t>=1</m:t>
                        </m:r>
                      </m:sub>
                      <m:sup>
                        <m:r>
                          <a:rPr lang="en-US" sz="1600" b="0" i="1" dirty="0" smtClean="0">
                            <a:latin typeface="Cambria Math" panose="02040503050406030204" pitchFamily="18" charset="0"/>
                          </a:rPr>
                          <m:t>𝑛</m:t>
                        </m:r>
                      </m:sup>
                      <m:e>
                        <m:r>
                          <a:rPr lang="en-US" sz="1600" b="0" i="1" dirty="0" smtClean="0">
                            <a:latin typeface="Cambria Math" panose="02040503050406030204" pitchFamily="18" charset="0"/>
                          </a:rPr>
                          <m:t>𝑄</m:t>
                        </m:r>
                        <m:d>
                          <m:dPr>
                            <m:ctrlPr>
                              <a:rPr lang="en-US" sz="1600" i="1" dirty="0">
                                <a:latin typeface="Cambria Math" panose="02040503050406030204" pitchFamily="18" charset="0"/>
                              </a:rPr>
                            </m:ctrlPr>
                          </m:dPr>
                          <m:e>
                            <m:sSub>
                              <m:sSubPr>
                                <m:ctrlPr>
                                  <a:rPr lang="en-US" sz="1600" i="1" dirty="0" smtClean="0">
                                    <a:latin typeface="Cambria Math" panose="02040503050406030204" pitchFamily="18" charset="0"/>
                                  </a:rPr>
                                </m:ctrlPr>
                              </m:sSubPr>
                              <m:e>
                                <m:r>
                                  <a:rPr lang="en-US" sz="1600" b="0" i="1" dirty="0" smtClean="0">
                                    <a:latin typeface="Cambria Math" panose="02040503050406030204" pitchFamily="18" charset="0"/>
                                  </a:rPr>
                                  <m:t>𝑋</m:t>
                                </m:r>
                              </m:e>
                              <m:sub>
                                <m:r>
                                  <a:rPr lang="en-US" sz="1600" b="0" i="1" dirty="0" smtClean="0">
                                    <a:latin typeface="Cambria Math" panose="02040503050406030204" pitchFamily="18" charset="0"/>
                                  </a:rPr>
                                  <m:t>𝑖</m:t>
                                </m:r>
                              </m:sub>
                            </m:sSub>
                          </m:e>
                        </m:d>
                        <m:r>
                          <a:rPr lang="en-US" sz="1600" b="0" i="1" dirty="0" smtClean="0">
                            <a:latin typeface="Cambria Math" panose="02040503050406030204" pitchFamily="18" charset="0"/>
                          </a:rPr>
                          <m:t> ∗</m:t>
                        </m:r>
                        <m:r>
                          <a:rPr lang="en-US" sz="1600" b="0" i="1" dirty="0" smtClean="0">
                            <a:latin typeface="Cambria Math" panose="02040503050406030204" pitchFamily="18" charset="0"/>
                          </a:rPr>
                          <m:t>𝐶𝑜𝑟𝑟</m:t>
                        </m:r>
                        <m:r>
                          <a:rPr lang="en-US" sz="1600" b="0" i="1" dirty="0" smtClean="0">
                            <a:latin typeface="Cambria Math" panose="02040503050406030204" pitchFamily="18" charset="0"/>
                          </a:rPr>
                          <m:t>(</m:t>
                        </m:r>
                        <m:sSub>
                          <m:sSubPr>
                            <m:ctrlPr>
                              <a:rPr lang="en-US" sz="1600" i="1" dirty="0">
                                <a:latin typeface="Cambria Math" panose="02040503050406030204" pitchFamily="18" charset="0"/>
                              </a:rPr>
                            </m:ctrlPr>
                          </m:sSubPr>
                          <m:e>
                            <m:r>
                              <a:rPr lang="en-US" sz="1600" i="1" dirty="0">
                                <a:latin typeface="Cambria Math" panose="02040503050406030204" pitchFamily="18" charset="0"/>
                              </a:rPr>
                              <m:t>𝑋</m:t>
                            </m:r>
                          </m:e>
                          <m:sub>
                            <m:r>
                              <a:rPr lang="en-US" sz="1600" i="1" dirty="0">
                                <a:latin typeface="Cambria Math" panose="02040503050406030204" pitchFamily="18" charset="0"/>
                              </a:rPr>
                              <m:t>𝑖</m:t>
                            </m:r>
                          </m:sub>
                        </m:sSub>
                        <m:r>
                          <a:rPr lang="en-US" sz="1600" b="0" i="1" baseline="-25000" dirty="0" smtClean="0">
                            <a:latin typeface="Cambria Math" panose="02040503050406030204" pitchFamily="18" charset="0"/>
                          </a:rPr>
                          <m:t>,</m:t>
                        </m:r>
                        <m:r>
                          <a:rPr lang="en-US" sz="1600" b="0" i="1" baseline="-25000" dirty="0" smtClean="0">
                            <a:latin typeface="Cambria Math" panose="02040503050406030204" pitchFamily="18" charset="0"/>
                          </a:rPr>
                          <m:t>𝑛</m:t>
                        </m:r>
                        <m:r>
                          <a:rPr lang="en-US" sz="1600" b="0" i="1" dirty="0" smtClean="0">
                            <a:latin typeface="Cambria Math" panose="02040503050406030204" pitchFamily="18" charset="0"/>
                          </a:rPr>
                          <m:t>)</m:t>
                        </m:r>
                      </m:e>
                    </m:nary>
                    <m:r>
                      <a:rPr lang="en-US" sz="1600" b="0" i="1" dirty="0" smtClean="0">
                        <a:latin typeface="Cambria Math" panose="02040503050406030204" pitchFamily="18" charset="0"/>
                      </a:rPr>
                      <m:t>≥</m:t>
                    </m:r>
                    <m:f>
                      <m:fPr>
                        <m:ctrlPr>
                          <a:rPr lang="en-US" sz="1600" i="1" dirty="0">
                            <a:latin typeface="Cambria Math" panose="02040503050406030204" pitchFamily="18" charset="0"/>
                          </a:rPr>
                        </m:ctrlPr>
                      </m:fPr>
                      <m:num>
                        <m:nary>
                          <m:naryPr>
                            <m:chr m:val="∑"/>
                            <m:limLoc m:val="undOvr"/>
                            <m:grow m:val="on"/>
                            <m:ctrlPr>
                              <a:rPr lang="en-US" sz="1600" i="1" dirty="0">
                                <a:latin typeface="Cambria Math" panose="02040503050406030204" pitchFamily="18" charset="0"/>
                              </a:rPr>
                            </m:ctrlPr>
                          </m:naryPr>
                          <m:sub>
                            <m:r>
                              <a:rPr lang="en-US" sz="1600" b="0" i="1" dirty="0" smtClean="0">
                                <a:latin typeface="Cambria Math" panose="02040503050406030204" pitchFamily="18" charset="0"/>
                              </a:rPr>
                              <m:t>𝑗</m:t>
                            </m:r>
                            <m:r>
                              <a:rPr lang="en-US" sz="1600" b="0" i="1" dirty="0" smtClean="0">
                                <a:latin typeface="Cambria Math" panose="02040503050406030204" pitchFamily="18" charset="0"/>
                              </a:rPr>
                              <m:t>=1</m:t>
                            </m:r>
                          </m:sub>
                          <m:sup>
                            <m:r>
                              <a:rPr lang="en-US" sz="1600" b="0" i="1" dirty="0" smtClean="0">
                                <a:latin typeface="Cambria Math" panose="02040503050406030204" pitchFamily="18" charset="0"/>
                              </a:rPr>
                              <m:t>𝑁</m:t>
                            </m:r>
                          </m:sup>
                          <m:e>
                            <m:r>
                              <a:rPr lang="en-US" sz="1600" b="0" i="1" dirty="0" smtClean="0">
                                <a:latin typeface="Cambria Math" panose="02040503050406030204" pitchFamily="18" charset="0"/>
                              </a:rPr>
                              <m:t>𝑄</m:t>
                            </m:r>
                            <m:d>
                              <m:dPr>
                                <m:ctrlPr>
                                  <a:rPr lang="en-US" sz="1600" i="1" dirty="0">
                                    <a:latin typeface="Cambria Math" panose="02040503050406030204" pitchFamily="18" charset="0"/>
                                  </a:rPr>
                                </m:ctrlPr>
                              </m:dPr>
                              <m:e>
                                <m:sSub>
                                  <m:sSubPr>
                                    <m:ctrlPr>
                                      <a:rPr lang="en-US" sz="1600" i="1" dirty="0">
                                        <a:latin typeface="Cambria Math" panose="02040503050406030204" pitchFamily="18" charset="0"/>
                                      </a:rPr>
                                    </m:ctrlPr>
                                  </m:sSubPr>
                                  <m:e>
                                    <m:r>
                                      <a:rPr lang="en-US" sz="1600" b="0" i="1" dirty="0" smtClean="0">
                                        <a:latin typeface="Cambria Math" panose="02040503050406030204" pitchFamily="18" charset="0"/>
                                      </a:rPr>
                                      <m:t>𝑋</m:t>
                                    </m:r>
                                  </m:e>
                                  <m:sub>
                                    <m:r>
                                      <a:rPr lang="en-US" sz="1600" b="0" i="1" dirty="0" smtClean="0">
                                        <a:latin typeface="Cambria Math" panose="02040503050406030204" pitchFamily="18" charset="0"/>
                                      </a:rPr>
                                      <m:t>𝑗</m:t>
                                    </m:r>
                                  </m:sub>
                                </m:sSub>
                              </m:e>
                            </m:d>
                          </m:e>
                        </m:nary>
                      </m:num>
                      <m:den>
                        <m:r>
                          <a:rPr lang="en-US" sz="1600" b="0" i="1" dirty="0" smtClean="0">
                            <a:latin typeface="Cambria Math" panose="02040503050406030204" pitchFamily="18" charset="0"/>
                          </a:rPr>
                          <m:t>𝑁</m:t>
                        </m:r>
                      </m:den>
                    </m:f>
                    <m:r>
                      <a:rPr lang="en-US" sz="1600" b="0" i="1" dirty="0" smtClean="0">
                        <a:latin typeface="Cambria Math" panose="02040503050406030204" pitchFamily="18" charset="0"/>
                      </a:rPr>
                      <m:t>∗2</m:t>
                    </m:r>
                    <m:r>
                      <a:rPr lang="en-US" sz="1600" b="0" i="1" dirty="0" smtClean="0">
                        <a:latin typeface="Cambria Math" panose="02040503050406030204" pitchFamily="18" charset="0"/>
                      </a:rPr>
                      <m:t>𝑛</m:t>
                    </m:r>
                    <m:d>
                      <m:dPr>
                        <m:ctrlPr>
                          <a:rPr lang="en-US" sz="1600" i="1" dirty="0">
                            <a:latin typeface="Cambria Math" panose="02040503050406030204" pitchFamily="18" charset="0"/>
                          </a:rPr>
                        </m:ctrlPr>
                      </m:dPr>
                      <m:e>
                        <m:sSub>
                          <m:sSubPr>
                            <m:ctrlPr>
                              <a:rPr lang="en-US" sz="1600" i="1" dirty="0">
                                <a:latin typeface="Cambria Math" panose="02040503050406030204" pitchFamily="18" charset="0"/>
                              </a:rPr>
                            </m:ctrlPr>
                          </m:sSubPr>
                          <m:e>
                            <m:r>
                              <a:rPr lang="en-US" sz="1600" b="0" i="1" dirty="0" smtClean="0">
                                <a:latin typeface="Cambria Math" panose="02040503050406030204" pitchFamily="18" charset="0"/>
                              </a:rPr>
                              <m:t>𝑋</m:t>
                            </m:r>
                          </m:e>
                          <m:sub>
                            <m:r>
                              <a:rPr lang="en-US" sz="1600" b="0" i="1" dirty="0" smtClean="0">
                                <a:latin typeface="Cambria Math" panose="02040503050406030204" pitchFamily="18" charset="0"/>
                              </a:rPr>
                              <m:t>𝑖</m:t>
                            </m:r>
                          </m:sub>
                        </m:sSub>
                      </m:e>
                    </m:d>
                  </m:oMath>
                </a14:m>
                <a:endParaRPr lang="en-US" sz="1600" i="1" dirty="0">
                  <a:latin typeface="Georgia" panose="02040502050405020303" pitchFamily="18" charset="0"/>
                </a:endParaRPr>
              </a:p>
            </p:txBody>
          </p:sp>
        </mc:Choice>
        <mc:Fallback xmlns="">
          <p:sp>
            <p:nvSpPr>
              <p:cNvPr id="6" name="TextBox 5">
                <a:extLst>
                  <a:ext uri="{FF2B5EF4-FFF2-40B4-BE49-F238E27FC236}">
                    <a16:creationId xmlns:a16="http://schemas.microsoft.com/office/drawing/2014/main" id="{33E34035-C00A-4988-93B1-1F2B9DB94F89}"/>
                  </a:ext>
                </a:extLst>
              </p:cNvPr>
              <p:cNvSpPr txBox="1">
                <a:spLocks noRot="1" noChangeAspect="1" noMove="1" noResize="1" noEditPoints="1" noAdjustHandles="1" noChangeArrowheads="1" noChangeShapeType="1" noTextEdit="1"/>
              </p:cNvSpPr>
              <p:nvPr/>
            </p:nvSpPr>
            <p:spPr>
              <a:xfrm>
                <a:off x="625964" y="2864997"/>
                <a:ext cx="11285061" cy="3706592"/>
              </a:xfrm>
              <a:prstGeom prst="rect">
                <a:avLst/>
              </a:prstGeom>
              <a:blipFill>
                <a:blip r:embed="rId3"/>
                <a:stretch>
                  <a:fillRect l="-378"/>
                </a:stretch>
              </a:blipFill>
            </p:spPr>
            <p:txBody>
              <a:bodyPr/>
              <a:lstStyle/>
              <a:p>
                <a:r>
                  <a:rPr lang="en-US">
                    <a:noFill/>
                  </a:rPr>
                  <a:t> </a:t>
                </a:r>
              </a:p>
            </p:txBody>
          </p:sp>
        </mc:Fallback>
      </mc:AlternateContent>
      <p:sp>
        <p:nvSpPr>
          <p:cNvPr id="7" name="TextBox 6">
            <a:extLst>
              <a:ext uri="{FF2B5EF4-FFF2-40B4-BE49-F238E27FC236}">
                <a16:creationId xmlns:a16="http://schemas.microsoft.com/office/drawing/2014/main" id="{5EEAF805-A690-4EA3-8DD8-9AFC8002DEB1}"/>
              </a:ext>
            </a:extLst>
          </p:cNvPr>
          <p:cNvSpPr txBox="1"/>
          <p:nvPr/>
        </p:nvSpPr>
        <p:spPr>
          <a:xfrm>
            <a:off x="233082" y="251012"/>
            <a:ext cx="10941978" cy="461665"/>
          </a:xfrm>
          <a:prstGeom prst="rect">
            <a:avLst/>
          </a:prstGeom>
          <a:noFill/>
        </p:spPr>
        <p:txBody>
          <a:bodyPr wrap="square" rtlCol="0">
            <a:spAutoFit/>
          </a:bodyPr>
          <a:lstStyle/>
          <a:p>
            <a:r>
              <a:rPr lang="en-US" sz="2400" b="1" cap="all">
                <a:latin typeface="Georgia" panose="02040502050405020303" pitchFamily="18" charset="0"/>
              </a:rPr>
              <a:t>Framing of Optimization Problem</a:t>
            </a:r>
            <a:endParaRPr lang="en-US" sz="3200" b="1" cap="all">
              <a:latin typeface="Georgia" panose="02040502050405020303" pitchFamily="18" charset="0"/>
            </a:endParaRPr>
          </a:p>
        </p:txBody>
      </p:sp>
      <p:sp>
        <p:nvSpPr>
          <p:cNvPr id="8" name="Rectangle 7">
            <a:extLst>
              <a:ext uri="{FF2B5EF4-FFF2-40B4-BE49-F238E27FC236}">
                <a16:creationId xmlns:a16="http://schemas.microsoft.com/office/drawing/2014/main" id="{D2173514-11C1-4C6A-BE24-F4C22D434CF0}"/>
              </a:ext>
            </a:extLst>
          </p:cNvPr>
          <p:cNvSpPr/>
          <p:nvPr/>
        </p:nvSpPr>
        <p:spPr>
          <a:xfrm>
            <a:off x="400050" y="6812280"/>
            <a:ext cx="11791579" cy="4572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a:t>
            </a:r>
          </a:p>
        </p:txBody>
      </p:sp>
      <p:pic>
        <p:nvPicPr>
          <p:cNvPr id="9" name="Graphic 8" descr="Toothpaste">
            <a:extLst>
              <a:ext uri="{FF2B5EF4-FFF2-40B4-BE49-F238E27FC236}">
                <a16:creationId xmlns:a16="http://schemas.microsoft.com/office/drawing/2014/main" id="{3414CB37-A1B9-4BF0-8B8A-57A3E39A9EDD}"/>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6219692">
            <a:off x="-34366" y="6088478"/>
            <a:ext cx="598153" cy="598153"/>
          </a:xfrm>
          <a:prstGeom prst="rect">
            <a:avLst/>
          </a:prstGeom>
        </p:spPr>
      </p:pic>
      <p:pic>
        <p:nvPicPr>
          <p:cNvPr id="10" name="Graphic 9" descr="Snake">
            <a:extLst>
              <a:ext uri="{FF2B5EF4-FFF2-40B4-BE49-F238E27FC236}">
                <a16:creationId xmlns:a16="http://schemas.microsoft.com/office/drawing/2014/main" id="{E37C0D1C-2939-476A-9E0F-16250201EC06}"/>
              </a:ext>
            </a:extLst>
          </p:cNvPr>
          <p:cNvPicPr>
            <a:picLocks noChangeAspect="1"/>
          </p:cNvPicPr>
          <p:nvPr/>
        </p:nvPicPr>
        <p:blipFill rotWithShape="1">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rcRect l="-2" t="56027" r="47111"/>
          <a:stretch/>
        </p:blipFill>
        <p:spPr>
          <a:xfrm rot="7001259">
            <a:off x="297005" y="6680310"/>
            <a:ext cx="336423" cy="279713"/>
          </a:xfrm>
          <a:prstGeom prst="rect">
            <a:avLst/>
          </a:prstGeom>
        </p:spPr>
      </p:pic>
      <p:sp>
        <p:nvSpPr>
          <p:cNvPr id="11" name="TextBox 10">
            <a:extLst>
              <a:ext uri="{FF2B5EF4-FFF2-40B4-BE49-F238E27FC236}">
                <a16:creationId xmlns:a16="http://schemas.microsoft.com/office/drawing/2014/main" id="{C11764AA-43A6-4730-8BA5-0FFF79390C3D}"/>
              </a:ext>
            </a:extLst>
          </p:cNvPr>
          <p:cNvSpPr txBox="1"/>
          <p:nvPr/>
        </p:nvSpPr>
        <p:spPr>
          <a:xfrm>
            <a:off x="6879272" y="3411923"/>
            <a:ext cx="4506686" cy="2862322"/>
          </a:xfrm>
          <a:prstGeom prst="rect">
            <a:avLst/>
          </a:prstGeom>
          <a:noFill/>
        </p:spPr>
        <p:txBody>
          <a:bodyPr wrap="square" rtlCol="0">
            <a:spAutoFit/>
          </a:bodyPr>
          <a:lstStyle/>
          <a:p>
            <a:r>
              <a:rPr lang="en-US" b="1" dirty="0">
                <a:latin typeface="Georgia" panose="02040502050405020303" pitchFamily="18" charset="0"/>
              </a:rPr>
              <a:t>Constraint 3:</a:t>
            </a:r>
          </a:p>
          <a:p>
            <a:endParaRPr lang="en-US" dirty="0">
              <a:latin typeface="Georgia" panose="02040502050405020303" pitchFamily="18" charset="0"/>
            </a:endParaRPr>
          </a:p>
          <a:p>
            <a:r>
              <a:rPr lang="en-US" i="1" dirty="0">
                <a:latin typeface="Georgia" panose="02040502050405020303" pitchFamily="18" charset="0"/>
              </a:rPr>
              <a:t>Price of the new PPG formed should not be too expensive (In other words, we don’t want to form PPGs with highest price). To do this we took sum of individual price that form the PPG which should be less than the average price of products within that sub-category times the number of products in the sub-category.</a:t>
            </a:r>
          </a:p>
        </p:txBody>
      </p:sp>
    </p:spTree>
    <p:extLst>
      <p:ext uri="{BB962C8B-B14F-4D97-AF65-F5344CB8AC3E}">
        <p14:creationId xmlns:p14="http://schemas.microsoft.com/office/powerpoint/2010/main" val="412356843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4" name="TextBox 3">
                <a:extLst>
                  <a:ext uri="{FF2B5EF4-FFF2-40B4-BE49-F238E27FC236}">
                    <a16:creationId xmlns:a16="http://schemas.microsoft.com/office/drawing/2014/main" id="{9CC1E34C-0532-4C10-AF18-4A598D24BE4C}"/>
                  </a:ext>
                </a:extLst>
              </p:cNvPr>
              <p:cNvSpPr txBox="1"/>
              <p:nvPr/>
            </p:nvSpPr>
            <p:spPr>
              <a:xfrm>
                <a:off x="657222" y="917896"/>
                <a:ext cx="11534407" cy="1078052"/>
              </a:xfrm>
              <a:prstGeom prst="rect">
                <a:avLst/>
              </a:prstGeom>
              <a:noFill/>
            </p:spPr>
            <p:txBody>
              <a:bodyPr wrap="square" rtlCol="0">
                <a:spAutoFit/>
              </a:bodyPr>
              <a:lstStyle/>
              <a:p>
                <a:r>
                  <a:rPr lang="en-US" sz="1600" b="1" dirty="0">
                    <a:solidFill>
                      <a:srgbClr val="0070C0"/>
                    </a:solidFill>
                    <a:latin typeface="Georgia" panose="02040502050405020303" pitchFamily="18" charset="0"/>
                  </a:rPr>
                  <a:t>Objective Function:</a:t>
                </a:r>
              </a:p>
              <a:p>
                <a:r>
                  <a:rPr lang="en-US" sz="1600" dirty="0">
                    <a:latin typeface="Georgia" panose="02040502050405020303" pitchFamily="18" charset="0"/>
                  </a:rPr>
                  <a:t>Max Z = </a:t>
                </a:r>
                <a14:m>
                  <m:oMath xmlns:m="http://schemas.openxmlformats.org/officeDocument/2006/math">
                    <m:nary>
                      <m:naryPr>
                        <m:chr m:val="∑"/>
                        <m:ctrlPr>
                          <a:rPr lang="pt-BR" sz="1600" i="1">
                            <a:latin typeface="Cambria Math" panose="02040503050406030204" pitchFamily="18" charset="0"/>
                          </a:rPr>
                        </m:ctrlPr>
                      </m:naryPr>
                      <m:sub>
                        <m:r>
                          <a:rPr lang="en-US" sz="1600" b="0" i="1" smtClean="0">
                            <a:latin typeface="Cambria Math" panose="02040503050406030204" pitchFamily="18" charset="0"/>
                          </a:rPr>
                          <m:t>𝑖</m:t>
                        </m:r>
                        <m:r>
                          <a:rPr lang="pt-BR" sz="1600" i="1">
                            <a:latin typeface="Cambria Math" panose="02040503050406030204" pitchFamily="18" charset="0"/>
                          </a:rPr>
                          <m:t>=</m:t>
                        </m:r>
                        <m:r>
                          <a:rPr lang="en-US" sz="1600" b="0" i="1" smtClean="0">
                            <a:latin typeface="Cambria Math" panose="02040503050406030204" pitchFamily="18" charset="0"/>
                          </a:rPr>
                          <m:t>1</m:t>
                        </m:r>
                      </m:sub>
                      <m:sup>
                        <m:r>
                          <a:rPr lang="pt-BR" sz="1600" i="1">
                            <a:latin typeface="Cambria Math" panose="02040503050406030204" pitchFamily="18" charset="0"/>
                          </a:rPr>
                          <m:t>𝑛</m:t>
                        </m:r>
                      </m:sup>
                      <m:e>
                        <m:d>
                          <m:dPr>
                            <m:begChr m:val="["/>
                            <m:endChr m:val="]"/>
                            <m:ctrlPr>
                              <a:rPr lang="en-US" sz="1600" b="0" i="1" smtClean="0">
                                <a:latin typeface="Cambria Math" panose="02040503050406030204" pitchFamily="18" charset="0"/>
                              </a:rPr>
                            </m:ctrlPr>
                          </m:dPr>
                          <m:e>
                            <m:r>
                              <a:rPr lang="en-US" sz="1600" b="0" i="1" smtClean="0">
                                <a:latin typeface="Cambria Math" panose="02040503050406030204" pitchFamily="18" charset="0"/>
                              </a:rPr>
                              <m:t>𝑃</m:t>
                            </m:r>
                            <m:r>
                              <a:rPr lang="en-US" sz="1600" b="0" i="1" smtClean="0">
                                <a:latin typeface="Cambria Math" panose="02040503050406030204" pitchFamily="18" charset="0"/>
                              </a:rPr>
                              <m:t>(</m:t>
                            </m:r>
                            <m:r>
                              <a:rPr lang="en-US" sz="1600" b="0" i="1" smtClean="0">
                                <a:latin typeface="Cambria Math" panose="02040503050406030204" pitchFamily="18" charset="0"/>
                              </a:rPr>
                              <m:t>𝑋𝑖</m:t>
                            </m:r>
                            <m:r>
                              <a:rPr lang="en-US" sz="1600" b="0" i="1" smtClean="0">
                                <a:latin typeface="Cambria Math" panose="02040503050406030204" pitchFamily="18" charset="0"/>
                              </a:rPr>
                              <m:t>)∗</m:t>
                            </m:r>
                            <m:r>
                              <a:rPr lang="en-US" sz="1600" b="0" i="1" smtClean="0">
                                <a:latin typeface="Cambria Math" panose="02040503050406030204" pitchFamily="18" charset="0"/>
                              </a:rPr>
                              <m:t>𝑄</m:t>
                            </m:r>
                            <m:r>
                              <a:rPr lang="en-US" sz="1600" b="0" i="1" smtClean="0">
                                <a:latin typeface="Cambria Math" panose="02040503050406030204" pitchFamily="18" charset="0"/>
                              </a:rPr>
                              <m:t>(</m:t>
                            </m:r>
                            <m:r>
                              <a:rPr lang="en-US" sz="1600" b="0" i="1" smtClean="0">
                                <a:latin typeface="Cambria Math" panose="02040503050406030204" pitchFamily="18" charset="0"/>
                              </a:rPr>
                              <m:t>𝑋𝑖</m:t>
                            </m:r>
                            <m:r>
                              <a:rPr lang="en-US" sz="1600" b="0" i="1" smtClean="0">
                                <a:latin typeface="Cambria Math" panose="02040503050406030204" pitchFamily="18" charset="0"/>
                              </a:rPr>
                              <m:t>)∗</m:t>
                            </m:r>
                            <m:r>
                              <a:rPr lang="en-US" sz="1600" b="0" i="1" smtClean="0">
                                <a:latin typeface="Cambria Math" panose="02040503050406030204" pitchFamily="18" charset="0"/>
                              </a:rPr>
                              <m:t>𝐷</m:t>
                            </m:r>
                            <m:r>
                              <a:rPr lang="en-US" sz="1600" b="0" i="1" smtClean="0">
                                <a:latin typeface="Cambria Math" panose="02040503050406030204" pitchFamily="18" charset="0"/>
                              </a:rPr>
                              <m:t>(</m:t>
                            </m:r>
                            <m:r>
                              <a:rPr lang="en-US" sz="1600" b="0" i="1" smtClean="0">
                                <a:latin typeface="Cambria Math" panose="02040503050406030204" pitchFamily="18" charset="0"/>
                              </a:rPr>
                              <m:t>𝑋𝑖</m:t>
                            </m:r>
                            <m:r>
                              <a:rPr lang="en-US" sz="1600" b="0" i="1" smtClean="0">
                                <a:latin typeface="Cambria Math" panose="02040503050406030204" pitchFamily="18" charset="0"/>
                              </a:rPr>
                              <m:t>)∗</m:t>
                            </m:r>
                            <m:d>
                              <m:dPr>
                                <m:ctrlPr>
                                  <a:rPr lang="en-US" sz="1600" b="0" i="1" smtClean="0">
                                    <a:latin typeface="Cambria Math" panose="02040503050406030204" pitchFamily="18" charset="0"/>
                                  </a:rPr>
                                </m:ctrlPr>
                              </m:dPr>
                              <m:e>
                                <m:r>
                                  <a:rPr lang="en-US" sz="1600" b="0" i="1" smtClean="0">
                                    <a:latin typeface="Cambria Math" panose="02040503050406030204" pitchFamily="18" charset="0"/>
                                  </a:rPr>
                                  <m:t>1.1</m:t>
                                </m:r>
                              </m:e>
                            </m:d>
                          </m:e>
                        </m:d>
                        <m:r>
                          <a:rPr lang="en-US" sz="1600" b="0" i="1" smtClean="0">
                            <a:latin typeface="Cambria Math" panose="02040503050406030204" pitchFamily="18" charset="0"/>
                          </a:rPr>
                          <m:t>+</m:t>
                        </m:r>
                        <m:d>
                          <m:dPr>
                            <m:begChr m:val="["/>
                            <m:endChr m:val="]"/>
                            <m:ctrlPr>
                              <a:rPr lang="en-US" sz="1600" i="1" smtClean="0">
                                <a:latin typeface="Cambria Math" panose="02040503050406030204" pitchFamily="18" charset="0"/>
                              </a:rPr>
                            </m:ctrlPr>
                          </m:dPr>
                          <m:e>
                            <m:r>
                              <a:rPr lang="en-US" sz="1600" b="0" i="1" smtClean="0">
                                <a:latin typeface="Cambria Math" panose="02040503050406030204" pitchFamily="18" charset="0"/>
                              </a:rPr>
                              <m:t>𝑃</m:t>
                            </m:r>
                            <m:r>
                              <a:rPr lang="en-US" sz="1600" b="0" i="1" smtClean="0">
                                <a:latin typeface="Cambria Math" panose="02040503050406030204" pitchFamily="18" charset="0"/>
                              </a:rPr>
                              <m:t>(</m:t>
                            </m:r>
                            <m:r>
                              <a:rPr lang="en-US" sz="1600" b="0" i="1" smtClean="0">
                                <a:latin typeface="Cambria Math" panose="02040503050406030204" pitchFamily="18" charset="0"/>
                              </a:rPr>
                              <m:t>𝑋𝑖</m:t>
                            </m:r>
                            <m:r>
                              <a:rPr lang="en-US" sz="1600" b="0" i="1" smtClean="0">
                                <a:latin typeface="Cambria Math" panose="02040503050406030204" pitchFamily="18" charset="0"/>
                              </a:rPr>
                              <m:t>)∗</m:t>
                            </m:r>
                            <m:r>
                              <a:rPr lang="en-US" sz="1600" i="1">
                                <a:latin typeface="Cambria Math" panose="02040503050406030204" pitchFamily="18" charset="0"/>
                              </a:rPr>
                              <m:t>𝑄</m:t>
                            </m:r>
                            <m:r>
                              <a:rPr lang="en-US" sz="1600" b="0" i="1" smtClean="0">
                                <a:latin typeface="Cambria Math" panose="02040503050406030204" pitchFamily="18" charset="0"/>
                              </a:rPr>
                              <m:t>(</m:t>
                            </m:r>
                            <m:r>
                              <a:rPr lang="en-US" sz="1600" b="0" i="1" smtClean="0">
                                <a:latin typeface="Cambria Math" panose="02040503050406030204" pitchFamily="18" charset="0"/>
                              </a:rPr>
                              <m:t>𝑋𝑖</m:t>
                            </m:r>
                            <m:r>
                              <a:rPr lang="en-US" sz="1600" b="0" i="1" smtClean="0">
                                <a:latin typeface="Cambria Math" panose="02040503050406030204" pitchFamily="18" charset="0"/>
                              </a:rPr>
                              <m:t>)∗(1−</m:t>
                            </m:r>
                            <m:r>
                              <a:rPr lang="en-US" sz="1600" i="1">
                                <a:latin typeface="Cambria Math" panose="02040503050406030204" pitchFamily="18" charset="0"/>
                              </a:rPr>
                              <m:t>𝐷</m:t>
                            </m:r>
                            <m:r>
                              <a:rPr lang="en-US" sz="1600" b="0" i="1" smtClean="0">
                                <a:latin typeface="Cambria Math" panose="02040503050406030204" pitchFamily="18" charset="0"/>
                              </a:rPr>
                              <m:t>(</m:t>
                            </m:r>
                            <m:r>
                              <a:rPr lang="en-US" sz="1600" b="0" i="1" smtClean="0">
                                <a:latin typeface="Cambria Math" panose="02040503050406030204" pitchFamily="18" charset="0"/>
                              </a:rPr>
                              <m:t>𝑋𝑖</m:t>
                            </m:r>
                            <m:r>
                              <a:rPr lang="en-US" sz="1600" b="0" i="1" smtClean="0">
                                <a:latin typeface="Cambria Math" panose="02040503050406030204" pitchFamily="18" charset="0"/>
                              </a:rPr>
                              <m:t>))</m:t>
                            </m:r>
                          </m:e>
                        </m:d>
                      </m:e>
                    </m:nary>
                  </m:oMath>
                </a14:m>
                <a:r>
                  <a:rPr lang="en-US" sz="1600" dirty="0">
                    <a:latin typeface="Georgia" panose="02040502050405020303" pitchFamily="18" charset="0"/>
                  </a:rPr>
                  <a:t>		</a:t>
                </a:r>
                <a:r>
                  <a:rPr lang="en-US" sz="1600" i="1" dirty="0">
                    <a:latin typeface="Georgia" panose="02040502050405020303" pitchFamily="18" charset="0"/>
                  </a:rPr>
                  <a:t>P(X</a:t>
                </a:r>
                <a:r>
                  <a:rPr lang="en-US" sz="1600" i="1" baseline="-25000" dirty="0">
                    <a:latin typeface="Georgia" panose="02040502050405020303" pitchFamily="18" charset="0"/>
                  </a:rPr>
                  <a:t>i</a:t>
                </a:r>
                <a:r>
                  <a:rPr lang="en-US" sz="1600" i="1" dirty="0">
                    <a:latin typeface="Georgia" panose="02040502050405020303" pitchFamily="18" charset="0"/>
                  </a:rPr>
                  <a:t>) is product sales Price</a:t>
                </a:r>
              </a:p>
              <a:p>
                <a:r>
                  <a:rPr lang="en-US" sz="1600" i="1" dirty="0">
                    <a:latin typeface="Georgia" panose="02040502050405020303" pitchFamily="18" charset="0"/>
                  </a:rPr>
                  <a:t>																Q(X</a:t>
                </a:r>
                <a:r>
                  <a:rPr lang="en-US" sz="1600" i="1" baseline="-25000" dirty="0">
                    <a:latin typeface="Georgia" panose="02040502050405020303" pitchFamily="18" charset="0"/>
                  </a:rPr>
                  <a:t>i</a:t>
                </a:r>
                <a:r>
                  <a:rPr lang="en-US" sz="1600" i="1" dirty="0">
                    <a:latin typeface="Georgia" panose="02040502050405020303" pitchFamily="18" charset="0"/>
                  </a:rPr>
                  <a:t>) is Quantities sold for each Product</a:t>
                </a:r>
              </a:p>
              <a:p>
                <a:r>
                  <a:rPr lang="en-US" sz="1600" i="1" dirty="0">
                    <a:latin typeface="Georgia" panose="02040502050405020303" pitchFamily="18" charset="0"/>
                  </a:rPr>
                  <a:t>																D(X</a:t>
                </a:r>
                <a:r>
                  <a:rPr lang="en-US" sz="1600" i="1" baseline="-25000" dirty="0">
                    <a:latin typeface="Georgia" panose="02040502050405020303" pitchFamily="18" charset="0"/>
                  </a:rPr>
                  <a:t>i</a:t>
                </a:r>
                <a:r>
                  <a:rPr lang="en-US" sz="1600" i="1" dirty="0">
                    <a:latin typeface="Georgia" panose="02040502050405020303" pitchFamily="18" charset="0"/>
                  </a:rPr>
                  <a:t>) is the Decision variable (0 or 1)</a:t>
                </a:r>
                <a:endParaRPr lang="en-US" sz="1600" dirty="0">
                  <a:latin typeface="Georgia" panose="02040502050405020303" pitchFamily="18" charset="0"/>
                </a:endParaRPr>
              </a:p>
            </p:txBody>
          </p:sp>
        </mc:Choice>
        <mc:Fallback xmlns="">
          <p:sp>
            <p:nvSpPr>
              <p:cNvPr id="4" name="TextBox 3">
                <a:extLst>
                  <a:ext uri="{FF2B5EF4-FFF2-40B4-BE49-F238E27FC236}">
                    <a16:creationId xmlns:a16="http://schemas.microsoft.com/office/drawing/2014/main" id="{9CC1E34C-0532-4C10-AF18-4A598D24BE4C}"/>
                  </a:ext>
                </a:extLst>
              </p:cNvPr>
              <p:cNvSpPr txBox="1">
                <a:spLocks noRot="1" noChangeAspect="1" noMove="1" noResize="1" noEditPoints="1" noAdjustHandles="1" noChangeArrowheads="1" noChangeShapeType="1" noTextEdit="1"/>
              </p:cNvSpPr>
              <p:nvPr/>
            </p:nvSpPr>
            <p:spPr>
              <a:xfrm>
                <a:off x="657222" y="917896"/>
                <a:ext cx="11534407" cy="1078052"/>
              </a:xfrm>
              <a:prstGeom prst="rect">
                <a:avLst/>
              </a:prstGeom>
              <a:blipFill>
                <a:blip r:embed="rId2"/>
                <a:stretch>
                  <a:fillRect l="-317" t="-11364" b="-8523"/>
                </a:stretch>
              </a:blipFill>
            </p:spPr>
            <p:txBody>
              <a:bodyPr/>
              <a:lstStyle/>
              <a:p>
                <a:r>
                  <a:rPr lang="en-US">
                    <a:noFill/>
                  </a:rPr>
                  <a:t> </a:t>
                </a:r>
              </a:p>
            </p:txBody>
          </p:sp>
        </mc:Fallback>
      </mc:AlternateContent>
      <p:sp>
        <p:nvSpPr>
          <p:cNvPr id="5" name="TextBox 4">
            <a:extLst>
              <a:ext uri="{FF2B5EF4-FFF2-40B4-BE49-F238E27FC236}">
                <a16:creationId xmlns:a16="http://schemas.microsoft.com/office/drawing/2014/main" id="{F7AF36D1-7478-40B8-87AD-78021C0FD8F0}"/>
              </a:ext>
            </a:extLst>
          </p:cNvPr>
          <p:cNvSpPr txBox="1"/>
          <p:nvPr/>
        </p:nvSpPr>
        <p:spPr>
          <a:xfrm>
            <a:off x="625964" y="2043978"/>
            <a:ext cx="10982325" cy="584775"/>
          </a:xfrm>
          <a:prstGeom prst="rect">
            <a:avLst/>
          </a:prstGeom>
          <a:noFill/>
        </p:spPr>
        <p:txBody>
          <a:bodyPr wrap="square" rtlCol="0">
            <a:spAutoFit/>
          </a:bodyPr>
          <a:lstStyle/>
          <a:p>
            <a:r>
              <a:rPr lang="en-US" sz="1600" b="1">
                <a:solidFill>
                  <a:srgbClr val="0070C0"/>
                </a:solidFill>
                <a:latin typeface="Georgia" panose="02040502050405020303" pitchFamily="18" charset="0"/>
              </a:rPr>
              <a:t>Decision Variables:</a:t>
            </a:r>
          </a:p>
          <a:p>
            <a:r>
              <a:rPr lang="en-US" sz="1600">
                <a:latin typeface="Georgia" panose="02040502050405020303" pitchFamily="18" charset="0"/>
              </a:rPr>
              <a:t>List of X</a:t>
            </a:r>
            <a:r>
              <a:rPr lang="en-US" sz="1600" baseline="-25000">
                <a:latin typeface="Georgia" panose="02040502050405020303" pitchFamily="18" charset="0"/>
              </a:rPr>
              <a:t>i</a:t>
            </a:r>
            <a:r>
              <a:rPr lang="en-US" sz="1600">
                <a:latin typeface="Georgia" panose="02040502050405020303" pitchFamily="18" charset="0"/>
              </a:rPr>
              <a:t> to include to form PPG bundle.									</a:t>
            </a:r>
            <a:r>
              <a:rPr lang="en-US" sz="1600" i="1">
                <a:latin typeface="Georgia" panose="02040502050405020303" pitchFamily="18" charset="0"/>
              </a:rPr>
              <a:t>X</a:t>
            </a:r>
            <a:r>
              <a:rPr lang="en-US" sz="1600" i="1" baseline="-25000">
                <a:latin typeface="Georgia" panose="02040502050405020303" pitchFamily="18" charset="0"/>
              </a:rPr>
              <a:t>i</a:t>
            </a:r>
            <a:r>
              <a:rPr lang="en-US" sz="1600" i="1">
                <a:latin typeface="Georgia" panose="02040502050405020303" pitchFamily="18" charset="0"/>
              </a:rPr>
              <a:t> is individual product</a:t>
            </a:r>
          </a:p>
        </p:txBody>
      </p:sp>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33E34035-C00A-4988-93B1-1F2B9DB94F89}"/>
                  </a:ext>
                </a:extLst>
              </p:cNvPr>
              <p:cNvSpPr txBox="1"/>
              <p:nvPr/>
            </p:nvSpPr>
            <p:spPr>
              <a:xfrm>
                <a:off x="625964" y="2864997"/>
                <a:ext cx="11285061" cy="3615092"/>
              </a:xfrm>
              <a:prstGeom prst="rect">
                <a:avLst/>
              </a:prstGeom>
              <a:noFill/>
            </p:spPr>
            <p:txBody>
              <a:bodyPr wrap="square" rtlCol="0">
                <a:spAutoFit/>
              </a:bodyPr>
              <a:lstStyle/>
              <a:p>
                <a:endParaRPr lang="en-US" sz="1600" b="1" dirty="0">
                  <a:solidFill>
                    <a:srgbClr val="0070C0"/>
                  </a:solidFill>
                  <a:latin typeface="Georgia" panose="02040502050405020303" pitchFamily="18" charset="0"/>
                </a:endParaRPr>
              </a:p>
              <a:p>
                <a:r>
                  <a:rPr lang="en-US" sz="1600" b="1" dirty="0">
                    <a:solidFill>
                      <a:srgbClr val="0070C0"/>
                    </a:solidFill>
                    <a:latin typeface="Georgia" panose="02040502050405020303" pitchFamily="18" charset="0"/>
                  </a:rPr>
                  <a:t>Constraints:</a:t>
                </a:r>
              </a:p>
              <a:p>
                <a:endParaRPr lang="en-US" sz="1600" b="1" i="1" dirty="0">
                  <a:latin typeface="Georgia" panose="02040502050405020303" pitchFamily="18" charset="0"/>
                </a:endParaRPr>
              </a:p>
              <a:p>
                <a:pPr marL="342900" indent="-342900">
                  <a:buAutoNum type="arabicPeriod"/>
                </a:pPr>
                <a:r>
                  <a:rPr lang="en-US" i="1" dirty="0">
                    <a:latin typeface="Georgia" panose="02040502050405020303" pitchFamily="18" charset="0"/>
                  </a:rPr>
                  <a:t>2 ≤ n(X</a:t>
                </a:r>
                <a:r>
                  <a:rPr lang="en-US" i="1" baseline="-25000" dirty="0">
                    <a:latin typeface="Georgia" panose="02040502050405020303" pitchFamily="18" charset="0"/>
                  </a:rPr>
                  <a:t>i</a:t>
                </a:r>
                <a:r>
                  <a:rPr lang="en-US" i="1" dirty="0">
                    <a:latin typeface="Georgia" panose="02040502050405020303" pitchFamily="18" charset="0"/>
                  </a:rPr>
                  <a:t>) ≤ 4</a:t>
                </a:r>
                <a:endParaRPr lang="en-US" sz="2000" i="1" dirty="0">
                  <a:latin typeface="Georgia" panose="02040502050405020303" pitchFamily="18" charset="0"/>
                </a:endParaRPr>
              </a:p>
              <a:p>
                <a:pPr marL="342900" indent="-342900">
                  <a:buAutoNum type="arabicPeriod"/>
                </a:pPr>
                <a:endParaRPr lang="en-US" sz="1600" i="1" dirty="0">
                  <a:latin typeface="Georgia" panose="02040502050405020303" pitchFamily="18" charset="0"/>
                </a:endParaRPr>
              </a:p>
              <a:p>
                <a:pPr marL="342900" indent="-342900">
                  <a:buAutoNum type="arabicPeriod"/>
                </a:pPr>
                <a:r>
                  <a:rPr lang="en-US" i="1" dirty="0">
                    <a:latin typeface="Georgia" panose="02040502050405020303" pitchFamily="18" charset="0"/>
                  </a:rPr>
                  <a:t>X</a:t>
                </a:r>
                <a:r>
                  <a:rPr lang="en-US" i="1" baseline="-25000" dirty="0">
                    <a:latin typeface="Georgia" panose="02040502050405020303" pitchFamily="18" charset="0"/>
                  </a:rPr>
                  <a:t>i</a:t>
                </a:r>
                <a:r>
                  <a:rPr lang="en-US" i="1" dirty="0">
                    <a:latin typeface="Georgia" panose="02040502050405020303" pitchFamily="18" charset="0"/>
                  </a:rPr>
                  <a:t> = {0,1}</a:t>
                </a:r>
                <a:endParaRPr lang="en-US" sz="2000" i="1" dirty="0">
                  <a:latin typeface="Georgia" panose="02040502050405020303" pitchFamily="18" charset="0"/>
                </a:endParaRPr>
              </a:p>
              <a:p>
                <a:pPr marL="342900" indent="-342900">
                  <a:buAutoNum type="arabicPeriod"/>
                </a:pPr>
                <a:endParaRPr lang="en-US" sz="1600" i="1" dirty="0">
                  <a:latin typeface="Georgia" panose="02040502050405020303" pitchFamily="18" charset="0"/>
                </a:endParaRPr>
              </a:p>
              <a:p>
                <a:pPr marL="342900" indent="-342900">
                  <a:buAutoNum type="arabicPeriod"/>
                </a:pPr>
                <a14:m>
                  <m:oMath xmlns:m="http://schemas.openxmlformats.org/officeDocument/2006/math">
                    <m:nary>
                      <m:naryPr>
                        <m:chr m:val="∑"/>
                        <m:limLoc m:val="undOvr"/>
                        <m:grow m:val="on"/>
                        <m:ctrlPr>
                          <a:rPr lang="en-US" i="1" dirty="0" smtClean="0">
                            <a:latin typeface="Cambria Math" panose="02040503050406030204" pitchFamily="18" charset="0"/>
                          </a:rPr>
                        </m:ctrlPr>
                      </m:naryPr>
                      <m:sub>
                        <m:r>
                          <a:rPr lang="en-US" b="0" i="1" dirty="0" smtClean="0">
                            <a:latin typeface="Cambria Math" panose="02040503050406030204" pitchFamily="18" charset="0"/>
                          </a:rPr>
                          <m:t>𝑖</m:t>
                        </m:r>
                        <m:r>
                          <a:rPr lang="en-US" b="0" i="1" dirty="0" smtClean="0">
                            <a:latin typeface="Cambria Math" panose="02040503050406030204" pitchFamily="18" charset="0"/>
                          </a:rPr>
                          <m:t>=1</m:t>
                        </m:r>
                      </m:sub>
                      <m:sup>
                        <m:r>
                          <a:rPr lang="en-US" b="0" i="1" dirty="0" smtClean="0">
                            <a:latin typeface="Cambria Math" panose="02040503050406030204" pitchFamily="18" charset="0"/>
                          </a:rPr>
                          <m:t>𝑛</m:t>
                        </m:r>
                      </m:sup>
                      <m:e>
                        <m:r>
                          <a:rPr lang="en-US" b="0" i="1" dirty="0" smtClean="0">
                            <a:latin typeface="Cambria Math" panose="02040503050406030204" pitchFamily="18" charset="0"/>
                          </a:rPr>
                          <m:t>𝑃</m:t>
                        </m:r>
                        <m:d>
                          <m:dPr>
                            <m:ctrlPr>
                              <a:rPr lang="en-US" i="1" dirty="0" smtClean="0">
                                <a:latin typeface="Cambria Math" panose="02040503050406030204" pitchFamily="18" charset="0"/>
                              </a:rPr>
                            </m:ctrlPr>
                          </m:dPr>
                          <m:e>
                            <m:sSub>
                              <m:sSubPr>
                                <m:ctrlPr>
                                  <a:rPr lang="en-US" i="1" dirty="0" smtClean="0">
                                    <a:latin typeface="Cambria Math" panose="02040503050406030204" pitchFamily="18" charset="0"/>
                                  </a:rPr>
                                </m:ctrlPr>
                              </m:sSubPr>
                              <m:e>
                                <m:r>
                                  <a:rPr lang="en-US" b="0" i="1" dirty="0" smtClean="0">
                                    <a:latin typeface="Cambria Math" panose="02040503050406030204" pitchFamily="18" charset="0"/>
                                  </a:rPr>
                                  <m:t>𝑋</m:t>
                                </m:r>
                              </m:e>
                              <m:sub>
                                <m:r>
                                  <a:rPr lang="en-US" b="0" i="1" dirty="0" smtClean="0">
                                    <a:latin typeface="Cambria Math" panose="02040503050406030204" pitchFamily="18" charset="0"/>
                                  </a:rPr>
                                  <m:t>𝑖</m:t>
                                </m:r>
                              </m:sub>
                            </m:sSub>
                          </m:e>
                        </m:d>
                      </m:e>
                    </m:nary>
                    <m:r>
                      <a:rPr lang="en-US" b="0" i="1" dirty="0" smtClean="0">
                        <a:latin typeface="Cambria Math" panose="02040503050406030204" pitchFamily="18" charset="0"/>
                      </a:rPr>
                      <m:t>≤</m:t>
                    </m:r>
                    <m:f>
                      <m:fPr>
                        <m:ctrlPr>
                          <a:rPr lang="en-US" i="1" dirty="0" smtClean="0">
                            <a:latin typeface="Cambria Math" panose="02040503050406030204" pitchFamily="18" charset="0"/>
                          </a:rPr>
                        </m:ctrlPr>
                      </m:fPr>
                      <m:num>
                        <m:nary>
                          <m:naryPr>
                            <m:chr m:val="∑"/>
                            <m:limLoc m:val="undOvr"/>
                            <m:grow m:val="on"/>
                            <m:ctrlPr>
                              <a:rPr lang="en-US" i="1" dirty="0" smtClean="0">
                                <a:latin typeface="Cambria Math" panose="02040503050406030204" pitchFamily="18" charset="0"/>
                              </a:rPr>
                            </m:ctrlPr>
                          </m:naryPr>
                          <m:sub>
                            <m:r>
                              <a:rPr lang="en-US" b="0" i="1" dirty="0" smtClean="0">
                                <a:latin typeface="Cambria Math" panose="02040503050406030204" pitchFamily="18" charset="0"/>
                              </a:rPr>
                              <m:t>𝑗</m:t>
                            </m:r>
                            <m:r>
                              <a:rPr lang="en-US" b="0" i="1" dirty="0" smtClean="0">
                                <a:latin typeface="Cambria Math" panose="02040503050406030204" pitchFamily="18" charset="0"/>
                              </a:rPr>
                              <m:t>=1</m:t>
                            </m:r>
                          </m:sub>
                          <m:sup>
                            <m:r>
                              <a:rPr lang="en-US" b="0" i="1" dirty="0" smtClean="0">
                                <a:latin typeface="Cambria Math" panose="02040503050406030204" pitchFamily="18" charset="0"/>
                              </a:rPr>
                              <m:t>𝑁</m:t>
                            </m:r>
                          </m:sup>
                          <m:e>
                            <m:r>
                              <a:rPr lang="en-US" b="0" i="1" dirty="0" smtClean="0">
                                <a:latin typeface="Cambria Math" panose="02040503050406030204" pitchFamily="18" charset="0"/>
                              </a:rPr>
                              <m:t>𝑃</m:t>
                            </m:r>
                            <m:d>
                              <m:dPr>
                                <m:ctrlPr>
                                  <a:rPr lang="en-US" i="1" dirty="0" smtClean="0">
                                    <a:latin typeface="Cambria Math" panose="02040503050406030204" pitchFamily="18" charset="0"/>
                                  </a:rPr>
                                </m:ctrlPr>
                              </m:dPr>
                              <m:e>
                                <m:sSub>
                                  <m:sSubPr>
                                    <m:ctrlPr>
                                      <a:rPr lang="en-US" i="1" dirty="0" smtClean="0">
                                        <a:latin typeface="Cambria Math" panose="02040503050406030204" pitchFamily="18" charset="0"/>
                                      </a:rPr>
                                    </m:ctrlPr>
                                  </m:sSubPr>
                                  <m:e>
                                    <m:r>
                                      <a:rPr lang="en-US" b="0" i="1" dirty="0" smtClean="0">
                                        <a:latin typeface="Cambria Math" panose="02040503050406030204" pitchFamily="18" charset="0"/>
                                      </a:rPr>
                                      <m:t>𝑋</m:t>
                                    </m:r>
                                  </m:e>
                                  <m:sub>
                                    <m:r>
                                      <a:rPr lang="en-US" b="0" i="1" dirty="0" smtClean="0">
                                        <a:latin typeface="Cambria Math" panose="02040503050406030204" pitchFamily="18" charset="0"/>
                                      </a:rPr>
                                      <m:t>𝑗</m:t>
                                    </m:r>
                                  </m:sub>
                                </m:sSub>
                              </m:e>
                            </m:d>
                          </m:e>
                        </m:nary>
                      </m:num>
                      <m:den>
                        <m:r>
                          <a:rPr lang="en-US" b="0" i="1" dirty="0" smtClean="0">
                            <a:latin typeface="Cambria Math" panose="02040503050406030204" pitchFamily="18" charset="0"/>
                          </a:rPr>
                          <m:t>𝑁</m:t>
                        </m:r>
                      </m:den>
                    </m:f>
                    <m:r>
                      <a:rPr lang="en-US" b="0" i="1" dirty="0" smtClean="0">
                        <a:latin typeface="Cambria Math" panose="02040503050406030204" pitchFamily="18" charset="0"/>
                      </a:rPr>
                      <m:t>∗</m:t>
                    </m:r>
                    <m:r>
                      <a:rPr lang="en-US" b="0" i="1" dirty="0" smtClean="0">
                        <a:latin typeface="Cambria Math" panose="02040503050406030204" pitchFamily="18" charset="0"/>
                      </a:rPr>
                      <m:t>𝑛</m:t>
                    </m:r>
                    <m:d>
                      <m:dPr>
                        <m:ctrlPr>
                          <a:rPr lang="en-US" i="1" dirty="0" smtClean="0">
                            <a:latin typeface="Cambria Math" panose="02040503050406030204" pitchFamily="18" charset="0"/>
                          </a:rPr>
                        </m:ctrlPr>
                      </m:dPr>
                      <m:e>
                        <m:sSub>
                          <m:sSubPr>
                            <m:ctrlPr>
                              <a:rPr lang="en-US" i="1" dirty="0" smtClean="0">
                                <a:latin typeface="Cambria Math" panose="02040503050406030204" pitchFamily="18" charset="0"/>
                              </a:rPr>
                            </m:ctrlPr>
                          </m:sSubPr>
                          <m:e>
                            <m:r>
                              <a:rPr lang="en-US" b="0" i="1" dirty="0" smtClean="0">
                                <a:latin typeface="Cambria Math" panose="02040503050406030204" pitchFamily="18" charset="0"/>
                              </a:rPr>
                              <m:t>𝑋</m:t>
                            </m:r>
                          </m:e>
                          <m:sub>
                            <m:r>
                              <a:rPr lang="en-US" b="0" i="1" dirty="0" smtClean="0">
                                <a:latin typeface="Cambria Math" panose="02040503050406030204" pitchFamily="18" charset="0"/>
                              </a:rPr>
                              <m:t>𝑖</m:t>
                            </m:r>
                          </m:sub>
                        </m:sSub>
                      </m:e>
                    </m:d>
                  </m:oMath>
                </a14:m>
                <a:endParaRPr lang="en-US" sz="1600" i="1" dirty="0">
                  <a:latin typeface="Georgia" panose="02040502050405020303" pitchFamily="18" charset="0"/>
                </a:endParaRPr>
              </a:p>
              <a:p>
                <a:pPr marL="342900" indent="-342900">
                  <a:buAutoNum type="arabicPeriod"/>
                </a:pPr>
                <a:endParaRPr lang="en-US" sz="1600" i="1" dirty="0">
                  <a:latin typeface="Georgia" panose="02040502050405020303" pitchFamily="18" charset="0"/>
                </a:endParaRPr>
              </a:p>
              <a:p>
                <a:pPr marL="342900" indent="-342900">
                  <a:buAutoNum type="arabicPeriod"/>
                </a:pPr>
                <a14:m>
                  <m:oMath xmlns:m="http://schemas.openxmlformats.org/officeDocument/2006/math">
                    <m:nary>
                      <m:naryPr>
                        <m:chr m:val="∑"/>
                        <m:limLoc m:val="undOvr"/>
                        <m:grow m:val="on"/>
                        <m:ctrlPr>
                          <a:rPr lang="en-US" sz="2000" b="1" i="1" dirty="0">
                            <a:latin typeface="Cambria Math" panose="02040503050406030204" pitchFamily="18" charset="0"/>
                          </a:rPr>
                        </m:ctrlPr>
                      </m:naryPr>
                      <m:sub>
                        <m:r>
                          <a:rPr lang="en-US" sz="2000" b="1" i="1" dirty="0" smtClean="0">
                            <a:latin typeface="Cambria Math" panose="02040503050406030204" pitchFamily="18" charset="0"/>
                          </a:rPr>
                          <m:t>𝒊</m:t>
                        </m:r>
                        <m:r>
                          <a:rPr lang="en-US" sz="2000" b="1" i="1" dirty="0" smtClean="0">
                            <a:latin typeface="Cambria Math" panose="02040503050406030204" pitchFamily="18" charset="0"/>
                          </a:rPr>
                          <m:t>=</m:t>
                        </m:r>
                        <m:r>
                          <a:rPr lang="en-US" sz="2000" b="1" i="1" dirty="0" smtClean="0">
                            <a:latin typeface="Cambria Math" panose="02040503050406030204" pitchFamily="18" charset="0"/>
                          </a:rPr>
                          <m:t>𝟏</m:t>
                        </m:r>
                      </m:sub>
                      <m:sup>
                        <m:r>
                          <a:rPr lang="en-US" sz="2000" b="1" i="1" dirty="0" smtClean="0">
                            <a:latin typeface="Cambria Math" panose="02040503050406030204" pitchFamily="18" charset="0"/>
                          </a:rPr>
                          <m:t>𝒏</m:t>
                        </m:r>
                      </m:sup>
                      <m:e>
                        <m:r>
                          <a:rPr lang="en-US" sz="2000" b="1" i="1" dirty="0" smtClean="0">
                            <a:latin typeface="Cambria Math" panose="02040503050406030204" pitchFamily="18" charset="0"/>
                          </a:rPr>
                          <m:t>𝑸</m:t>
                        </m:r>
                        <m:d>
                          <m:dPr>
                            <m:ctrlPr>
                              <a:rPr lang="en-US" sz="2000" b="1" i="1" dirty="0">
                                <a:latin typeface="Cambria Math" panose="02040503050406030204" pitchFamily="18" charset="0"/>
                              </a:rPr>
                            </m:ctrlPr>
                          </m:dPr>
                          <m:e>
                            <m:sSub>
                              <m:sSubPr>
                                <m:ctrlPr>
                                  <a:rPr lang="en-US" sz="2000" b="1" i="1" dirty="0" smtClean="0">
                                    <a:latin typeface="Cambria Math" panose="02040503050406030204" pitchFamily="18" charset="0"/>
                                  </a:rPr>
                                </m:ctrlPr>
                              </m:sSubPr>
                              <m:e>
                                <m:r>
                                  <a:rPr lang="en-US" sz="2000" b="1" i="1" dirty="0" smtClean="0">
                                    <a:latin typeface="Cambria Math" panose="02040503050406030204" pitchFamily="18" charset="0"/>
                                  </a:rPr>
                                  <m:t>𝑿</m:t>
                                </m:r>
                              </m:e>
                              <m:sub>
                                <m:r>
                                  <a:rPr lang="en-US" sz="2000" b="1" i="1" dirty="0" smtClean="0">
                                    <a:latin typeface="Cambria Math" panose="02040503050406030204" pitchFamily="18" charset="0"/>
                                  </a:rPr>
                                  <m:t>𝒊</m:t>
                                </m:r>
                              </m:sub>
                            </m:sSub>
                          </m:e>
                        </m:d>
                        <m:r>
                          <a:rPr lang="en-US" sz="2000" b="1" i="1" dirty="0" smtClean="0">
                            <a:latin typeface="Cambria Math" panose="02040503050406030204" pitchFamily="18" charset="0"/>
                          </a:rPr>
                          <m:t> ∗</m:t>
                        </m:r>
                        <m:r>
                          <a:rPr lang="en-US" sz="2000" b="1" i="1" dirty="0" smtClean="0">
                            <a:latin typeface="Cambria Math" panose="02040503050406030204" pitchFamily="18" charset="0"/>
                          </a:rPr>
                          <m:t>𝑪𝒐𝒓𝒓</m:t>
                        </m:r>
                        <m:r>
                          <a:rPr lang="en-US" sz="2000" b="1" i="1" dirty="0" smtClean="0">
                            <a:latin typeface="Cambria Math" panose="02040503050406030204" pitchFamily="18" charset="0"/>
                          </a:rPr>
                          <m:t>(</m:t>
                        </m:r>
                        <m:sSub>
                          <m:sSubPr>
                            <m:ctrlPr>
                              <a:rPr lang="en-US" sz="2000" b="1" i="1" dirty="0">
                                <a:latin typeface="Cambria Math" panose="02040503050406030204" pitchFamily="18" charset="0"/>
                              </a:rPr>
                            </m:ctrlPr>
                          </m:sSubPr>
                          <m:e>
                            <m:r>
                              <a:rPr lang="en-US" sz="2000" b="1" i="1" dirty="0">
                                <a:latin typeface="Cambria Math" panose="02040503050406030204" pitchFamily="18" charset="0"/>
                              </a:rPr>
                              <m:t>𝑿</m:t>
                            </m:r>
                          </m:e>
                          <m:sub>
                            <m:r>
                              <a:rPr lang="en-US" sz="2000" b="1" i="1" dirty="0">
                                <a:latin typeface="Cambria Math" panose="02040503050406030204" pitchFamily="18" charset="0"/>
                              </a:rPr>
                              <m:t>𝒊</m:t>
                            </m:r>
                          </m:sub>
                        </m:sSub>
                        <m:r>
                          <a:rPr lang="en-US" sz="2000" b="1" i="1" baseline="-25000" dirty="0" smtClean="0">
                            <a:latin typeface="Cambria Math" panose="02040503050406030204" pitchFamily="18" charset="0"/>
                          </a:rPr>
                          <m:t>,</m:t>
                        </m:r>
                        <m:r>
                          <a:rPr lang="en-US" sz="2000" b="1" i="1" baseline="-25000" dirty="0" smtClean="0">
                            <a:latin typeface="Cambria Math" panose="02040503050406030204" pitchFamily="18" charset="0"/>
                          </a:rPr>
                          <m:t>𝒏</m:t>
                        </m:r>
                        <m:r>
                          <a:rPr lang="en-US" sz="2000" b="1" i="1" dirty="0" smtClean="0">
                            <a:latin typeface="Cambria Math" panose="02040503050406030204" pitchFamily="18" charset="0"/>
                          </a:rPr>
                          <m:t>)</m:t>
                        </m:r>
                      </m:e>
                    </m:nary>
                    <m:r>
                      <a:rPr lang="en-US" sz="2000" b="1" i="1" dirty="0" smtClean="0">
                        <a:latin typeface="Cambria Math" panose="02040503050406030204" pitchFamily="18" charset="0"/>
                      </a:rPr>
                      <m:t>≥</m:t>
                    </m:r>
                    <m:f>
                      <m:fPr>
                        <m:ctrlPr>
                          <a:rPr lang="en-US" sz="2000" b="1" i="1" dirty="0">
                            <a:latin typeface="Cambria Math" panose="02040503050406030204" pitchFamily="18" charset="0"/>
                          </a:rPr>
                        </m:ctrlPr>
                      </m:fPr>
                      <m:num>
                        <m:nary>
                          <m:naryPr>
                            <m:chr m:val="∑"/>
                            <m:limLoc m:val="undOvr"/>
                            <m:grow m:val="on"/>
                            <m:ctrlPr>
                              <a:rPr lang="en-US" sz="2000" b="1" i="1" dirty="0">
                                <a:latin typeface="Cambria Math" panose="02040503050406030204" pitchFamily="18" charset="0"/>
                              </a:rPr>
                            </m:ctrlPr>
                          </m:naryPr>
                          <m:sub>
                            <m:r>
                              <a:rPr lang="en-US" sz="2000" b="1" i="1" dirty="0" smtClean="0">
                                <a:latin typeface="Cambria Math" panose="02040503050406030204" pitchFamily="18" charset="0"/>
                              </a:rPr>
                              <m:t>𝒋</m:t>
                            </m:r>
                            <m:r>
                              <a:rPr lang="en-US" sz="2000" b="1" i="1" dirty="0" smtClean="0">
                                <a:latin typeface="Cambria Math" panose="02040503050406030204" pitchFamily="18" charset="0"/>
                              </a:rPr>
                              <m:t>=</m:t>
                            </m:r>
                            <m:r>
                              <a:rPr lang="en-US" sz="2000" b="1" i="1" dirty="0" smtClean="0">
                                <a:latin typeface="Cambria Math" panose="02040503050406030204" pitchFamily="18" charset="0"/>
                              </a:rPr>
                              <m:t>𝟏</m:t>
                            </m:r>
                          </m:sub>
                          <m:sup>
                            <m:r>
                              <a:rPr lang="en-US" sz="2000" b="1" i="1" dirty="0" smtClean="0">
                                <a:latin typeface="Cambria Math" panose="02040503050406030204" pitchFamily="18" charset="0"/>
                              </a:rPr>
                              <m:t>𝑵</m:t>
                            </m:r>
                          </m:sup>
                          <m:e>
                            <m:r>
                              <a:rPr lang="en-US" sz="2000" b="1" i="1" dirty="0" smtClean="0">
                                <a:latin typeface="Cambria Math" panose="02040503050406030204" pitchFamily="18" charset="0"/>
                              </a:rPr>
                              <m:t>𝑸</m:t>
                            </m:r>
                            <m:d>
                              <m:dPr>
                                <m:ctrlPr>
                                  <a:rPr lang="en-US" sz="2000" b="1" i="1" dirty="0">
                                    <a:latin typeface="Cambria Math" panose="02040503050406030204" pitchFamily="18" charset="0"/>
                                  </a:rPr>
                                </m:ctrlPr>
                              </m:dPr>
                              <m:e>
                                <m:sSub>
                                  <m:sSubPr>
                                    <m:ctrlPr>
                                      <a:rPr lang="en-US" sz="2000" b="1" i="1" dirty="0">
                                        <a:latin typeface="Cambria Math" panose="02040503050406030204" pitchFamily="18" charset="0"/>
                                      </a:rPr>
                                    </m:ctrlPr>
                                  </m:sSubPr>
                                  <m:e>
                                    <m:r>
                                      <a:rPr lang="en-US" sz="2000" b="1" i="1" dirty="0" smtClean="0">
                                        <a:latin typeface="Cambria Math" panose="02040503050406030204" pitchFamily="18" charset="0"/>
                                      </a:rPr>
                                      <m:t>𝑿</m:t>
                                    </m:r>
                                  </m:e>
                                  <m:sub>
                                    <m:r>
                                      <a:rPr lang="en-US" sz="2000" b="1" i="1" dirty="0" smtClean="0">
                                        <a:latin typeface="Cambria Math" panose="02040503050406030204" pitchFamily="18" charset="0"/>
                                      </a:rPr>
                                      <m:t>𝒋</m:t>
                                    </m:r>
                                  </m:sub>
                                </m:sSub>
                              </m:e>
                            </m:d>
                          </m:e>
                        </m:nary>
                      </m:num>
                      <m:den>
                        <m:r>
                          <a:rPr lang="en-US" sz="2000" b="1" i="1" dirty="0" smtClean="0">
                            <a:latin typeface="Cambria Math" panose="02040503050406030204" pitchFamily="18" charset="0"/>
                          </a:rPr>
                          <m:t>𝑵</m:t>
                        </m:r>
                      </m:den>
                    </m:f>
                    <m:r>
                      <a:rPr lang="en-US" sz="2000" b="1" i="1" dirty="0" smtClean="0">
                        <a:latin typeface="Cambria Math" panose="02040503050406030204" pitchFamily="18" charset="0"/>
                      </a:rPr>
                      <m:t>∗</m:t>
                    </m:r>
                    <m:r>
                      <a:rPr lang="en-US" sz="2000" b="1" i="1" dirty="0" smtClean="0">
                        <a:latin typeface="Cambria Math" panose="02040503050406030204" pitchFamily="18" charset="0"/>
                      </a:rPr>
                      <m:t>𝟐</m:t>
                    </m:r>
                    <m:r>
                      <a:rPr lang="en-US" sz="2000" b="1" i="1" dirty="0" smtClean="0">
                        <a:latin typeface="Cambria Math" panose="02040503050406030204" pitchFamily="18" charset="0"/>
                      </a:rPr>
                      <m:t>𝒏</m:t>
                    </m:r>
                    <m:d>
                      <m:dPr>
                        <m:ctrlPr>
                          <a:rPr lang="en-US" sz="2000" b="1" i="1" dirty="0">
                            <a:latin typeface="Cambria Math" panose="02040503050406030204" pitchFamily="18" charset="0"/>
                          </a:rPr>
                        </m:ctrlPr>
                      </m:dPr>
                      <m:e>
                        <m:sSub>
                          <m:sSubPr>
                            <m:ctrlPr>
                              <a:rPr lang="en-US" sz="2000" b="1" i="1" dirty="0">
                                <a:latin typeface="Cambria Math" panose="02040503050406030204" pitchFamily="18" charset="0"/>
                              </a:rPr>
                            </m:ctrlPr>
                          </m:sSubPr>
                          <m:e>
                            <m:r>
                              <a:rPr lang="en-US" sz="2000" b="1" i="1" dirty="0" smtClean="0">
                                <a:latin typeface="Cambria Math" panose="02040503050406030204" pitchFamily="18" charset="0"/>
                              </a:rPr>
                              <m:t>𝑿</m:t>
                            </m:r>
                          </m:e>
                          <m:sub>
                            <m:r>
                              <a:rPr lang="en-US" sz="2000" b="1" i="1" dirty="0" smtClean="0">
                                <a:latin typeface="Cambria Math" panose="02040503050406030204" pitchFamily="18" charset="0"/>
                              </a:rPr>
                              <m:t>𝒊</m:t>
                            </m:r>
                          </m:sub>
                        </m:sSub>
                      </m:e>
                    </m:d>
                  </m:oMath>
                </a14:m>
                <a:endParaRPr lang="en-US" sz="2000" b="1" i="1" dirty="0">
                  <a:latin typeface="Georgia" panose="02040502050405020303" pitchFamily="18" charset="0"/>
                </a:endParaRPr>
              </a:p>
            </p:txBody>
          </p:sp>
        </mc:Choice>
        <mc:Fallback xmlns="">
          <p:sp>
            <p:nvSpPr>
              <p:cNvPr id="6" name="TextBox 5">
                <a:extLst>
                  <a:ext uri="{FF2B5EF4-FFF2-40B4-BE49-F238E27FC236}">
                    <a16:creationId xmlns:a16="http://schemas.microsoft.com/office/drawing/2014/main" id="{33E34035-C00A-4988-93B1-1F2B9DB94F89}"/>
                  </a:ext>
                </a:extLst>
              </p:cNvPr>
              <p:cNvSpPr txBox="1">
                <a:spLocks noRot="1" noChangeAspect="1" noMove="1" noResize="1" noEditPoints="1" noAdjustHandles="1" noChangeArrowheads="1" noChangeShapeType="1" noTextEdit="1"/>
              </p:cNvSpPr>
              <p:nvPr/>
            </p:nvSpPr>
            <p:spPr>
              <a:xfrm>
                <a:off x="625964" y="2864997"/>
                <a:ext cx="11285061" cy="3615092"/>
              </a:xfrm>
              <a:prstGeom prst="rect">
                <a:avLst/>
              </a:prstGeom>
              <a:blipFill>
                <a:blip r:embed="rId3"/>
                <a:stretch>
                  <a:fillRect l="-378"/>
                </a:stretch>
              </a:blipFill>
            </p:spPr>
            <p:txBody>
              <a:bodyPr/>
              <a:lstStyle/>
              <a:p>
                <a:r>
                  <a:rPr lang="en-US">
                    <a:noFill/>
                  </a:rPr>
                  <a:t> </a:t>
                </a:r>
              </a:p>
            </p:txBody>
          </p:sp>
        </mc:Fallback>
      </mc:AlternateContent>
      <p:sp>
        <p:nvSpPr>
          <p:cNvPr id="7" name="TextBox 6">
            <a:extLst>
              <a:ext uri="{FF2B5EF4-FFF2-40B4-BE49-F238E27FC236}">
                <a16:creationId xmlns:a16="http://schemas.microsoft.com/office/drawing/2014/main" id="{5EEAF805-A690-4EA3-8DD8-9AFC8002DEB1}"/>
              </a:ext>
            </a:extLst>
          </p:cNvPr>
          <p:cNvSpPr txBox="1"/>
          <p:nvPr/>
        </p:nvSpPr>
        <p:spPr>
          <a:xfrm>
            <a:off x="233082" y="251012"/>
            <a:ext cx="10941978" cy="461665"/>
          </a:xfrm>
          <a:prstGeom prst="rect">
            <a:avLst/>
          </a:prstGeom>
          <a:noFill/>
        </p:spPr>
        <p:txBody>
          <a:bodyPr wrap="square" rtlCol="0">
            <a:spAutoFit/>
          </a:bodyPr>
          <a:lstStyle/>
          <a:p>
            <a:r>
              <a:rPr lang="en-US" sz="2400" b="1" cap="all">
                <a:latin typeface="Georgia" panose="02040502050405020303" pitchFamily="18" charset="0"/>
              </a:rPr>
              <a:t>Framing of Optimization Problem</a:t>
            </a:r>
            <a:endParaRPr lang="en-US" sz="3200" b="1" cap="all">
              <a:latin typeface="Georgia" panose="02040502050405020303" pitchFamily="18" charset="0"/>
            </a:endParaRPr>
          </a:p>
        </p:txBody>
      </p:sp>
      <p:sp>
        <p:nvSpPr>
          <p:cNvPr id="8" name="Rectangle 7">
            <a:extLst>
              <a:ext uri="{FF2B5EF4-FFF2-40B4-BE49-F238E27FC236}">
                <a16:creationId xmlns:a16="http://schemas.microsoft.com/office/drawing/2014/main" id="{D2173514-11C1-4C6A-BE24-F4C22D434CF0}"/>
              </a:ext>
            </a:extLst>
          </p:cNvPr>
          <p:cNvSpPr/>
          <p:nvPr/>
        </p:nvSpPr>
        <p:spPr>
          <a:xfrm>
            <a:off x="400050" y="6812280"/>
            <a:ext cx="11791579" cy="4572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a:t>
            </a:r>
          </a:p>
        </p:txBody>
      </p:sp>
      <p:pic>
        <p:nvPicPr>
          <p:cNvPr id="9" name="Graphic 8" descr="Toothpaste">
            <a:extLst>
              <a:ext uri="{FF2B5EF4-FFF2-40B4-BE49-F238E27FC236}">
                <a16:creationId xmlns:a16="http://schemas.microsoft.com/office/drawing/2014/main" id="{3414CB37-A1B9-4BF0-8B8A-57A3E39A9EDD}"/>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6219692">
            <a:off x="-34366" y="6088478"/>
            <a:ext cx="598153" cy="598153"/>
          </a:xfrm>
          <a:prstGeom prst="rect">
            <a:avLst/>
          </a:prstGeom>
        </p:spPr>
      </p:pic>
      <p:pic>
        <p:nvPicPr>
          <p:cNvPr id="10" name="Graphic 9" descr="Snake">
            <a:extLst>
              <a:ext uri="{FF2B5EF4-FFF2-40B4-BE49-F238E27FC236}">
                <a16:creationId xmlns:a16="http://schemas.microsoft.com/office/drawing/2014/main" id="{E37C0D1C-2939-476A-9E0F-16250201EC06}"/>
              </a:ext>
            </a:extLst>
          </p:cNvPr>
          <p:cNvPicPr>
            <a:picLocks noChangeAspect="1"/>
          </p:cNvPicPr>
          <p:nvPr/>
        </p:nvPicPr>
        <p:blipFill rotWithShape="1">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rcRect l="-2" t="56027" r="47111"/>
          <a:stretch/>
        </p:blipFill>
        <p:spPr>
          <a:xfrm rot="7001259">
            <a:off x="297005" y="6680310"/>
            <a:ext cx="336423" cy="279713"/>
          </a:xfrm>
          <a:prstGeom prst="rect">
            <a:avLst/>
          </a:prstGeom>
        </p:spPr>
      </p:pic>
      <p:sp>
        <p:nvSpPr>
          <p:cNvPr id="12" name="TextBox 11">
            <a:extLst>
              <a:ext uri="{FF2B5EF4-FFF2-40B4-BE49-F238E27FC236}">
                <a16:creationId xmlns:a16="http://schemas.microsoft.com/office/drawing/2014/main" id="{DF6E95B3-4E29-4484-B039-386EC6F7B57A}"/>
              </a:ext>
            </a:extLst>
          </p:cNvPr>
          <p:cNvSpPr txBox="1"/>
          <p:nvPr/>
        </p:nvSpPr>
        <p:spPr>
          <a:xfrm>
            <a:off x="7166417" y="2761698"/>
            <a:ext cx="4506686" cy="3847207"/>
          </a:xfrm>
          <a:prstGeom prst="rect">
            <a:avLst/>
          </a:prstGeom>
          <a:noFill/>
        </p:spPr>
        <p:txBody>
          <a:bodyPr wrap="square" rtlCol="0">
            <a:spAutoFit/>
          </a:bodyPr>
          <a:lstStyle/>
          <a:p>
            <a:r>
              <a:rPr lang="en-US" b="1" dirty="0">
                <a:latin typeface="Georgia" panose="02040502050405020303" pitchFamily="18" charset="0"/>
              </a:rPr>
              <a:t>Constraint 4:</a:t>
            </a:r>
          </a:p>
          <a:p>
            <a:endParaRPr lang="en-US" dirty="0">
              <a:latin typeface="Georgia" panose="02040502050405020303" pitchFamily="18" charset="0"/>
            </a:endParaRPr>
          </a:p>
          <a:p>
            <a:r>
              <a:rPr lang="en-US" sz="1600" i="1" dirty="0" err="1">
                <a:latin typeface="Georgia" panose="02040502050405020303" pitchFamily="18" charset="0"/>
              </a:rPr>
              <a:t>Corr</a:t>
            </a:r>
            <a:r>
              <a:rPr lang="en-US" sz="1600" i="1" dirty="0">
                <a:latin typeface="Georgia" panose="02040502050405020303" pitchFamily="18" charset="0"/>
              </a:rPr>
              <a:t> (</a:t>
            </a:r>
            <a:r>
              <a:rPr lang="en-US" sz="1600" i="1" dirty="0" err="1">
                <a:latin typeface="Georgia" panose="02040502050405020303" pitchFamily="18" charset="0"/>
              </a:rPr>
              <a:t>X</a:t>
            </a:r>
            <a:r>
              <a:rPr lang="en-US" sz="1600" i="1" baseline="-25000" dirty="0" err="1">
                <a:latin typeface="Georgia" panose="02040502050405020303" pitchFamily="18" charset="0"/>
              </a:rPr>
              <a:t>i,n</a:t>
            </a:r>
            <a:r>
              <a:rPr lang="en-US" sz="1600" i="1" dirty="0">
                <a:latin typeface="Georgia" panose="02040502050405020303" pitchFamily="18" charset="0"/>
              </a:rPr>
              <a:t>) refers to the Selling Correlation between two products. For now, we have taken that to be 10%. This can be altered with availability of more data.</a:t>
            </a:r>
          </a:p>
          <a:p>
            <a:r>
              <a:rPr lang="en-US" sz="1600" i="1" dirty="0">
                <a:latin typeface="Georgia" panose="02040502050405020303" pitchFamily="18" charset="0"/>
              </a:rPr>
              <a:t>E.g. – If A &amp; B are sold separately, quantity sold are x &amp; y respectively. However, if they are sold together, then total quantity sold will be 1.1 * (</a:t>
            </a:r>
            <a:r>
              <a:rPr lang="en-US" sz="1600" i="1" dirty="0" err="1">
                <a:latin typeface="Georgia" panose="02040502050405020303" pitchFamily="18" charset="0"/>
              </a:rPr>
              <a:t>x+y</a:t>
            </a:r>
            <a:r>
              <a:rPr lang="en-US" sz="1600" i="1" dirty="0">
                <a:latin typeface="Georgia" panose="02040502050405020303" pitchFamily="18" charset="0"/>
              </a:rPr>
              <a:t>). The factor of 1.1 suggests that the products compliment each other.</a:t>
            </a:r>
          </a:p>
          <a:p>
            <a:endParaRPr lang="en-US" sz="1600" i="1" dirty="0">
              <a:latin typeface="Georgia" panose="02040502050405020303" pitchFamily="18" charset="0"/>
            </a:endParaRPr>
          </a:p>
          <a:p>
            <a:r>
              <a:rPr lang="en-US" sz="1600" i="1" dirty="0">
                <a:latin typeface="Georgia" panose="02040502050405020303" pitchFamily="18" charset="0"/>
              </a:rPr>
              <a:t>Total quantity sold for the PPG should be higher than twice the average quantity sold earlier without forming PPG.</a:t>
            </a:r>
          </a:p>
        </p:txBody>
      </p:sp>
    </p:spTree>
    <p:extLst>
      <p:ext uri="{BB962C8B-B14F-4D97-AF65-F5344CB8AC3E}">
        <p14:creationId xmlns:p14="http://schemas.microsoft.com/office/powerpoint/2010/main" val="322999667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C6022BE-1AF0-4265-AC7E-F1925FF7ECAC}"/>
              </a:ext>
            </a:extLst>
          </p:cNvPr>
          <p:cNvGraphicFramePr>
            <a:graphicFrameLocks noChangeAspect="1"/>
          </p:cNvGraphicFramePr>
          <p:nvPr>
            <p:custDataLst>
              <p:tags r:id="rId2"/>
            </p:custDataLst>
            <p:extLst>
              <p:ext uri="{D42A27DB-BD31-4B8C-83A1-F6EECF244321}">
                <p14:modId xmlns:p14="http://schemas.microsoft.com/office/powerpoint/2010/main" val="34691040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4" imgW="415" imgH="416" progId="TCLayout.ActiveDocument.1">
                  <p:embed/>
                </p:oleObj>
              </mc:Choice>
              <mc:Fallback>
                <p:oleObj name="think-cell Slide" r:id="rId4" imgW="415" imgH="416" progId="TCLayout.ActiveDocument.1">
                  <p:embed/>
                  <p:pic>
                    <p:nvPicPr>
                      <p:cNvPr id="2" name="Object 1" hidden="1">
                        <a:extLst>
                          <a:ext uri="{FF2B5EF4-FFF2-40B4-BE49-F238E27FC236}">
                            <a16:creationId xmlns:a16="http://schemas.microsoft.com/office/drawing/2014/main" id="{9C6022BE-1AF0-4265-AC7E-F1925FF7EC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3" name="TextBox 32">
            <a:extLst>
              <a:ext uri="{FF2B5EF4-FFF2-40B4-BE49-F238E27FC236}">
                <a16:creationId xmlns:a16="http://schemas.microsoft.com/office/drawing/2014/main" id="{9DB91EC4-6362-4CEE-9BDE-626F01416C17}"/>
              </a:ext>
            </a:extLst>
          </p:cNvPr>
          <p:cNvSpPr txBox="1"/>
          <p:nvPr/>
        </p:nvSpPr>
        <p:spPr>
          <a:xfrm>
            <a:off x="233082" y="251012"/>
            <a:ext cx="10941978" cy="523220"/>
          </a:xfrm>
          <a:prstGeom prst="rect">
            <a:avLst/>
          </a:prstGeom>
          <a:noFill/>
        </p:spPr>
        <p:txBody>
          <a:bodyPr wrap="square" rtlCol="0">
            <a:spAutoFit/>
          </a:bodyPr>
          <a:lstStyle/>
          <a:p>
            <a:r>
              <a:rPr lang="en-US" sz="2800" b="1" dirty="0">
                <a:latin typeface="Georgia" panose="02040502050405020303" pitchFamily="18" charset="0"/>
              </a:rPr>
              <a:t>OPTIMIZATION FOR SANITISER – SAS CODE</a:t>
            </a:r>
            <a:endParaRPr lang="en-US" sz="3200" b="1" dirty="0">
              <a:latin typeface="Georgia" panose="02040502050405020303" pitchFamily="18" charset="0"/>
            </a:endParaRPr>
          </a:p>
        </p:txBody>
      </p:sp>
      <p:sp>
        <p:nvSpPr>
          <p:cNvPr id="31" name="Rectangle 30">
            <a:extLst>
              <a:ext uri="{FF2B5EF4-FFF2-40B4-BE49-F238E27FC236}">
                <a16:creationId xmlns:a16="http://schemas.microsoft.com/office/drawing/2014/main" id="{01330292-0E1B-42A2-A857-DB485CB46554}"/>
              </a:ext>
            </a:extLst>
          </p:cNvPr>
          <p:cNvSpPr/>
          <p:nvPr/>
        </p:nvSpPr>
        <p:spPr>
          <a:xfrm>
            <a:off x="400050" y="6812280"/>
            <a:ext cx="11791579" cy="4572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a:t>
            </a:r>
          </a:p>
        </p:txBody>
      </p:sp>
      <p:pic>
        <p:nvPicPr>
          <p:cNvPr id="34" name="Graphic 33" descr="Toothpaste">
            <a:extLst>
              <a:ext uri="{FF2B5EF4-FFF2-40B4-BE49-F238E27FC236}">
                <a16:creationId xmlns:a16="http://schemas.microsoft.com/office/drawing/2014/main" id="{D074DF44-8F1A-4764-A347-6B83DE56C6C0}"/>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6219692">
            <a:off x="-34366" y="6088478"/>
            <a:ext cx="598153" cy="598153"/>
          </a:xfrm>
          <a:prstGeom prst="rect">
            <a:avLst/>
          </a:prstGeom>
        </p:spPr>
      </p:pic>
      <p:pic>
        <p:nvPicPr>
          <p:cNvPr id="35" name="Graphic 34" descr="Snake">
            <a:extLst>
              <a:ext uri="{FF2B5EF4-FFF2-40B4-BE49-F238E27FC236}">
                <a16:creationId xmlns:a16="http://schemas.microsoft.com/office/drawing/2014/main" id="{FC5FC754-AC5B-4F35-A4DE-70B92E3FDEF5}"/>
              </a:ext>
            </a:extLst>
          </p:cNvPr>
          <p:cNvPicPr>
            <a:picLocks noChangeAspect="1"/>
          </p:cNvPicPr>
          <p:nvPr/>
        </p:nvPicPr>
        <p:blipFill rotWithShape="1">
          <a:blip r:embed="rId8" cstate="hq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l="-2" t="56027" r="47111"/>
          <a:stretch/>
        </p:blipFill>
        <p:spPr>
          <a:xfrm rot="7001259">
            <a:off x="297005" y="6680310"/>
            <a:ext cx="336423" cy="279713"/>
          </a:xfrm>
          <a:prstGeom prst="rect">
            <a:avLst/>
          </a:prstGeom>
        </p:spPr>
      </p:pic>
      <p:pic>
        <p:nvPicPr>
          <p:cNvPr id="5" name="Picture 4" descr="A screenshot of a social media post&#10;&#10;Description automatically generated">
            <a:extLst>
              <a:ext uri="{FF2B5EF4-FFF2-40B4-BE49-F238E27FC236}">
                <a16:creationId xmlns:a16="http://schemas.microsoft.com/office/drawing/2014/main" id="{03CE4FDF-4FB2-42A3-968A-D3579B0E72C1}"/>
              </a:ext>
            </a:extLst>
          </p:cNvPr>
          <p:cNvPicPr>
            <a:picLocks noChangeAspect="1"/>
          </p:cNvPicPr>
          <p:nvPr/>
        </p:nvPicPr>
        <p:blipFill>
          <a:blip r:embed="rId10">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41296" y="1303683"/>
            <a:ext cx="11909407" cy="4659146"/>
          </a:xfrm>
          <a:prstGeom prst="rect">
            <a:avLst/>
          </a:prstGeom>
          <a:ln w="228600" cap="sq" cmpd="thickThin">
            <a:solidFill>
              <a:srgbClr val="000000"/>
            </a:solidFill>
            <a:prstDash val="solid"/>
            <a:miter lim="800000"/>
          </a:ln>
          <a:effectLst>
            <a:innerShdw blurRad="76200">
              <a:srgbClr val="000000"/>
            </a:innerShdw>
          </a:effectLst>
        </p:spPr>
      </p:pic>
    </p:spTree>
    <p:extLst>
      <p:ext uri="{BB962C8B-B14F-4D97-AF65-F5344CB8AC3E}">
        <p14:creationId xmlns:p14="http://schemas.microsoft.com/office/powerpoint/2010/main" val="82328219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C6022BE-1AF0-4265-AC7E-F1925FF7ECA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4" imgW="415" imgH="416" progId="TCLayout.ActiveDocument.1">
                  <p:embed/>
                </p:oleObj>
              </mc:Choice>
              <mc:Fallback>
                <p:oleObj name="think-cell Slide" r:id="rId4" imgW="415" imgH="416" progId="TCLayout.ActiveDocument.1">
                  <p:embed/>
                  <p:pic>
                    <p:nvPicPr>
                      <p:cNvPr id="2" name="Object 1" hidden="1">
                        <a:extLst>
                          <a:ext uri="{FF2B5EF4-FFF2-40B4-BE49-F238E27FC236}">
                            <a16:creationId xmlns:a16="http://schemas.microsoft.com/office/drawing/2014/main" id="{9C6022BE-1AF0-4265-AC7E-F1925FF7EC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3" name="TextBox 32">
            <a:extLst>
              <a:ext uri="{FF2B5EF4-FFF2-40B4-BE49-F238E27FC236}">
                <a16:creationId xmlns:a16="http://schemas.microsoft.com/office/drawing/2014/main" id="{9DB91EC4-6362-4CEE-9BDE-626F01416C17}"/>
              </a:ext>
            </a:extLst>
          </p:cNvPr>
          <p:cNvSpPr txBox="1"/>
          <p:nvPr/>
        </p:nvSpPr>
        <p:spPr>
          <a:xfrm>
            <a:off x="233082" y="251012"/>
            <a:ext cx="10941978" cy="523220"/>
          </a:xfrm>
          <a:prstGeom prst="rect">
            <a:avLst/>
          </a:prstGeom>
          <a:noFill/>
        </p:spPr>
        <p:txBody>
          <a:bodyPr wrap="square" rtlCol="0">
            <a:spAutoFit/>
          </a:bodyPr>
          <a:lstStyle/>
          <a:p>
            <a:r>
              <a:rPr lang="en-US" sz="2800" b="1" dirty="0">
                <a:latin typeface="Georgia" panose="02040502050405020303" pitchFamily="18" charset="0"/>
              </a:rPr>
              <a:t>OPTIMIZATION FOR SANITISER – RESULTS</a:t>
            </a:r>
            <a:endParaRPr lang="en-US" sz="3200" b="1" dirty="0">
              <a:latin typeface="Georgia" panose="02040502050405020303" pitchFamily="18" charset="0"/>
            </a:endParaRPr>
          </a:p>
        </p:txBody>
      </p:sp>
      <p:sp>
        <p:nvSpPr>
          <p:cNvPr id="31" name="Rectangle 30">
            <a:extLst>
              <a:ext uri="{FF2B5EF4-FFF2-40B4-BE49-F238E27FC236}">
                <a16:creationId xmlns:a16="http://schemas.microsoft.com/office/drawing/2014/main" id="{01330292-0E1B-42A2-A857-DB485CB46554}"/>
              </a:ext>
            </a:extLst>
          </p:cNvPr>
          <p:cNvSpPr/>
          <p:nvPr/>
        </p:nvSpPr>
        <p:spPr>
          <a:xfrm>
            <a:off x="400050" y="6812280"/>
            <a:ext cx="11791579" cy="4572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a:t>
            </a:r>
          </a:p>
        </p:txBody>
      </p:sp>
      <p:pic>
        <p:nvPicPr>
          <p:cNvPr id="34" name="Graphic 33" descr="Toothpaste">
            <a:extLst>
              <a:ext uri="{FF2B5EF4-FFF2-40B4-BE49-F238E27FC236}">
                <a16:creationId xmlns:a16="http://schemas.microsoft.com/office/drawing/2014/main" id="{D074DF44-8F1A-4764-A347-6B83DE56C6C0}"/>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6219692">
            <a:off x="-34366" y="6088478"/>
            <a:ext cx="598153" cy="598153"/>
          </a:xfrm>
          <a:prstGeom prst="rect">
            <a:avLst/>
          </a:prstGeom>
        </p:spPr>
      </p:pic>
      <p:pic>
        <p:nvPicPr>
          <p:cNvPr id="35" name="Graphic 34" descr="Snake">
            <a:extLst>
              <a:ext uri="{FF2B5EF4-FFF2-40B4-BE49-F238E27FC236}">
                <a16:creationId xmlns:a16="http://schemas.microsoft.com/office/drawing/2014/main" id="{FC5FC754-AC5B-4F35-A4DE-70B92E3FDEF5}"/>
              </a:ext>
            </a:extLst>
          </p:cNvPr>
          <p:cNvPicPr>
            <a:picLocks noChangeAspect="1"/>
          </p:cNvPicPr>
          <p:nvPr/>
        </p:nvPicPr>
        <p:blipFill rotWithShape="1">
          <a:blip r:embed="rId8" cstate="hq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l="-2" t="56027" r="47111"/>
          <a:stretch/>
        </p:blipFill>
        <p:spPr>
          <a:xfrm rot="7001259">
            <a:off x="297005" y="6680310"/>
            <a:ext cx="336423" cy="279713"/>
          </a:xfrm>
          <a:prstGeom prst="rect">
            <a:avLst/>
          </a:prstGeom>
        </p:spPr>
      </p:pic>
      <p:pic>
        <p:nvPicPr>
          <p:cNvPr id="5" name="Picture 4">
            <a:extLst>
              <a:ext uri="{FF2B5EF4-FFF2-40B4-BE49-F238E27FC236}">
                <a16:creationId xmlns:a16="http://schemas.microsoft.com/office/drawing/2014/main" id="{FC88CCF6-49F6-4FB9-A9A6-EC840482425F}"/>
              </a:ext>
            </a:extLst>
          </p:cNvPr>
          <p:cNvPicPr>
            <a:picLocks noChangeAspect="1"/>
          </p:cNvPicPr>
          <p:nvPr/>
        </p:nvPicPr>
        <p:blipFill>
          <a:blip r:embed="rId10">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023849" y="850092"/>
            <a:ext cx="3360444" cy="5681108"/>
          </a:xfrm>
          <a:prstGeom prst="rect">
            <a:avLst/>
          </a:prstGeom>
        </p:spPr>
      </p:pic>
    </p:spTree>
    <p:extLst>
      <p:ext uri="{BB962C8B-B14F-4D97-AF65-F5344CB8AC3E}">
        <p14:creationId xmlns:p14="http://schemas.microsoft.com/office/powerpoint/2010/main" val="365910630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00EE5D0-7D13-4375-BFEC-4296DC3D4056}"/>
              </a:ext>
            </a:extLst>
          </p:cNvPr>
          <p:cNvSpPr/>
          <p:nvPr/>
        </p:nvSpPr>
        <p:spPr>
          <a:xfrm>
            <a:off x="3617236" y="2388535"/>
            <a:ext cx="1771191" cy="369332"/>
          </a:xfrm>
          <a:prstGeom prst="rect">
            <a:avLst/>
          </a:prstGeom>
          <a:solidFill>
            <a:schemeClr val="accent1">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err="1">
                <a:solidFill>
                  <a:schemeClr val="tx1"/>
                </a:solidFill>
                <a:latin typeface="Georgia" panose="02040502050405020303" pitchFamily="18" charset="0"/>
              </a:rPr>
              <a:t>Sanitiser</a:t>
            </a:r>
            <a:endParaRPr lang="en-US">
              <a:solidFill>
                <a:schemeClr val="tx1"/>
              </a:solidFill>
              <a:latin typeface="Georgia" panose="02040502050405020303" pitchFamily="18" charset="0"/>
            </a:endParaRPr>
          </a:p>
        </p:txBody>
      </p:sp>
      <p:sp>
        <p:nvSpPr>
          <p:cNvPr id="31" name="Rectangle 30">
            <a:extLst>
              <a:ext uri="{FF2B5EF4-FFF2-40B4-BE49-F238E27FC236}">
                <a16:creationId xmlns:a16="http://schemas.microsoft.com/office/drawing/2014/main" id="{62CEEEFD-1744-4EF2-B707-B9DA39D14F6B}"/>
              </a:ext>
            </a:extLst>
          </p:cNvPr>
          <p:cNvSpPr/>
          <p:nvPr/>
        </p:nvSpPr>
        <p:spPr>
          <a:xfrm>
            <a:off x="3617236" y="2757867"/>
            <a:ext cx="1771192" cy="1685498"/>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chemeClr val="tx1"/>
                </a:solidFill>
                <a:latin typeface="Georgia" panose="02040502050405020303" pitchFamily="18" charset="0"/>
              </a:rPr>
              <a:t>Prod_2</a:t>
            </a:r>
          </a:p>
          <a:p>
            <a:pPr algn="ctr"/>
            <a:r>
              <a:rPr lang="en-US" sz="2800" dirty="0">
                <a:solidFill>
                  <a:schemeClr val="tx1"/>
                </a:solidFill>
                <a:latin typeface="Georgia" panose="02040502050405020303" pitchFamily="18" charset="0"/>
              </a:rPr>
              <a:t>Prod_4</a:t>
            </a:r>
          </a:p>
          <a:p>
            <a:pPr algn="ctr"/>
            <a:r>
              <a:rPr lang="en-US" sz="2800" dirty="0">
                <a:solidFill>
                  <a:schemeClr val="tx1"/>
                </a:solidFill>
                <a:latin typeface="Georgia" panose="02040502050405020303" pitchFamily="18" charset="0"/>
              </a:rPr>
              <a:t>Prod_8</a:t>
            </a:r>
          </a:p>
        </p:txBody>
      </p:sp>
      <p:sp>
        <p:nvSpPr>
          <p:cNvPr id="33" name="Rectangle 32">
            <a:extLst>
              <a:ext uri="{FF2B5EF4-FFF2-40B4-BE49-F238E27FC236}">
                <a16:creationId xmlns:a16="http://schemas.microsoft.com/office/drawing/2014/main" id="{89308BA6-FE55-4897-883D-BA14FF8181D2}"/>
              </a:ext>
            </a:extLst>
          </p:cNvPr>
          <p:cNvSpPr/>
          <p:nvPr/>
        </p:nvSpPr>
        <p:spPr>
          <a:xfrm>
            <a:off x="6725534" y="2372588"/>
            <a:ext cx="1771190" cy="369332"/>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latin typeface="Georgia" panose="02040502050405020303" pitchFamily="18" charset="0"/>
              </a:rPr>
              <a:t>Cleaning Wipes</a:t>
            </a:r>
          </a:p>
        </p:txBody>
      </p:sp>
      <p:sp>
        <p:nvSpPr>
          <p:cNvPr id="34" name="Rectangle 33">
            <a:extLst>
              <a:ext uri="{FF2B5EF4-FFF2-40B4-BE49-F238E27FC236}">
                <a16:creationId xmlns:a16="http://schemas.microsoft.com/office/drawing/2014/main" id="{C8A954C6-33A1-4E0E-99D9-D9564A0239A7}"/>
              </a:ext>
            </a:extLst>
          </p:cNvPr>
          <p:cNvSpPr/>
          <p:nvPr/>
        </p:nvSpPr>
        <p:spPr>
          <a:xfrm>
            <a:off x="6725533" y="2745881"/>
            <a:ext cx="1771191" cy="1685498"/>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chemeClr val="tx1"/>
                </a:solidFill>
                <a:latin typeface="Georgia" panose="02040502050405020303" pitchFamily="18" charset="0"/>
              </a:rPr>
              <a:t>Prod_2</a:t>
            </a:r>
          </a:p>
          <a:p>
            <a:pPr algn="ctr"/>
            <a:r>
              <a:rPr lang="en-US" sz="2800" dirty="0">
                <a:solidFill>
                  <a:schemeClr val="tx1"/>
                </a:solidFill>
                <a:latin typeface="Georgia" panose="02040502050405020303" pitchFamily="18" charset="0"/>
              </a:rPr>
              <a:t>Prod_4</a:t>
            </a:r>
          </a:p>
          <a:p>
            <a:pPr algn="ctr"/>
            <a:r>
              <a:rPr lang="en-US" sz="2800" dirty="0">
                <a:solidFill>
                  <a:schemeClr val="tx1"/>
                </a:solidFill>
                <a:latin typeface="Georgia" panose="02040502050405020303" pitchFamily="18" charset="0"/>
              </a:rPr>
              <a:t>Prod_7</a:t>
            </a:r>
          </a:p>
        </p:txBody>
      </p:sp>
      <p:sp>
        <p:nvSpPr>
          <p:cNvPr id="13" name="TextBox 12">
            <a:extLst>
              <a:ext uri="{FF2B5EF4-FFF2-40B4-BE49-F238E27FC236}">
                <a16:creationId xmlns:a16="http://schemas.microsoft.com/office/drawing/2014/main" id="{4532082B-ABF1-4207-919D-E1109EE46B9F}"/>
              </a:ext>
            </a:extLst>
          </p:cNvPr>
          <p:cNvSpPr txBox="1"/>
          <p:nvPr/>
        </p:nvSpPr>
        <p:spPr>
          <a:xfrm>
            <a:off x="233082" y="251012"/>
            <a:ext cx="11598362" cy="523220"/>
          </a:xfrm>
          <a:prstGeom prst="rect">
            <a:avLst/>
          </a:prstGeom>
          <a:noFill/>
        </p:spPr>
        <p:txBody>
          <a:bodyPr wrap="square" rtlCol="0">
            <a:spAutoFit/>
          </a:bodyPr>
          <a:lstStyle/>
          <a:p>
            <a:r>
              <a:rPr lang="en-US" sz="2800" b="1" cap="all">
                <a:latin typeface="Georgia" panose="02040502050405020303" pitchFamily="18" charset="0"/>
              </a:rPr>
              <a:t>OPTIMIZATION – PPG Bundles for Select Categories</a:t>
            </a:r>
            <a:endParaRPr lang="en-US" sz="3200" b="1" cap="all">
              <a:latin typeface="Georgia" panose="02040502050405020303" pitchFamily="18" charset="0"/>
            </a:endParaRPr>
          </a:p>
        </p:txBody>
      </p:sp>
      <p:sp>
        <p:nvSpPr>
          <p:cNvPr id="14" name="Rectangle 13">
            <a:extLst>
              <a:ext uri="{FF2B5EF4-FFF2-40B4-BE49-F238E27FC236}">
                <a16:creationId xmlns:a16="http://schemas.microsoft.com/office/drawing/2014/main" id="{7FE821B8-FCFD-4F17-980C-C1BCC3D596C4}"/>
              </a:ext>
            </a:extLst>
          </p:cNvPr>
          <p:cNvSpPr/>
          <p:nvPr/>
        </p:nvSpPr>
        <p:spPr>
          <a:xfrm>
            <a:off x="400050" y="6812280"/>
            <a:ext cx="11791579" cy="4572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a:t>
            </a:r>
          </a:p>
        </p:txBody>
      </p:sp>
      <p:pic>
        <p:nvPicPr>
          <p:cNvPr id="15" name="Graphic 14" descr="Toothpaste">
            <a:extLst>
              <a:ext uri="{FF2B5EF4-FFF2-40B4-BE49-F238E27FC236}">
                <a16:creationId xmlns:a16="http://schemas.microsoft.com/office/drawing/2014/main" id="{6F7D3FB2-F92B-4D14-8B4A-16E2616E766B}"/>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6219692">
            <a:off x="-34366" y="6088478"/>
            <a:ext cx="598153" cy="598153"/>
          </a:xfrm>
          <a:prstGeom prst="rect">
            <a:avLst/>
          </a:prstGeom>
        </p:spPr>
      </p:pic>
      <p:pic>
        <p:nvPicPr>
          <p:cNvPr id="16" name="Graphic 15" descr="Snake">
            <a:extLst>
              <a:ext uri="{FF2B5EF4-FFF2-40B4-BE49-F238E27FC236}">
                <a16:creationId xmlns:a16="http://schemas.microsoft.com/office/drawing/2014/main" id="{BF028BBA-8931-42D2-82B4-D9EB494AD227}"/>
              </a:ext>
            </a:extLst>
          </p:cNvPr>
          <p:cNvPicPr>
            <a:picLocks noChangeAspect="1"/>
          </p:cNvPicPr>
          <p:nvPr/>
        </p:nvPicPr>
        <p:blipFill rotWithShape="1">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rcRect l="-2" t="56027" r="47111"/>
          <a:stretch/>
        </p:blipFill>
        <p:spPr>
          <a:xfrm rot="7001259">
            <a:off x="297005" y="6680310"/>
            <a:ext cx="336423" cy="279713"/>
          </a:xfrm>
          <a:prstGeom prst="rect">
            <a:avLst/>
          </a:prstGeom>
        </p:spPr>
      </p:pic>
      <p:sp>
        <p:nvSpPr>
          <p:cNvPr id="3" name="TextBox 2"/>
          <p:cNvSpPr txBox="1"/>
          <p:nvPr/>
        </p:nvSpPr>
        <p:spPr>
          <a:xfrm>
            <a:off x="2726422" y="5346576"/>
            <a:ext cx="6936372" cy="369332"/>
          </a:xfrm>
          <a:prstGeom prst="rect">
            <a:avLst/>
          </a:prstGeom>
          <a:noFill/>
        </p:spPr>
        <p:txBody>
          <a:bodyPr wrap="square" rtlCol="0">
            <a:spAutoFit/>
          </a:bodyPr>
          <a:lstStyle/>
          <a:p>
            <a:r>
              <a:rPr lang="en-US" i="1" dirty="0"/>
              <a:t>* Product names hidden for confidentiality purposes</a:t>
            </a:r>
          </a:p>
        </p:txBody>
      </p:sp>
    </p:spTree>
    <p:extLst>
      <p:ext uri="{BB962C8B-B14F-4D97-AF65-F5344CB8AC3E}">
        <p14:creationId xmlns:p14="http://schemas.microsoft.com/office/powerpoint/2010/main" val="14716064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fade">
                                      <p:cBhvr>
                                        <p:cTn id="10" dur="500"/>
                                        <p:tgtEl>
                                          <p:spTgt spid="31"/>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33"/>
                                        </p:tgtEl>
                                        <p:attrNameLst>
                                          <p:attrName>style.visibility</p:attrName>
                                        </p:attrNameLst>
                                      </p:cBhvr>
                                      <p:to>
                                        <p:strVal val="visible"/>
                                      </p:to>
                                    </p:set>
                                    <p:animEffect transition="in" filter="fade">
                                      <p:cBhvr>
                                        <p:cTn id="14" dur="500"/>
                                        <p:tgtEl>
                                          <p:spTgt spid="33"/>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34"/>
                                        </p:tgtEl>
                                        <p:attrNameLst>
                                          <p:attrName>style.visibility</p:attrName>
                                        </p:attrNameLst>
                                      </p:cBhvr>
                                      <p:to>
                                        <p:strVal val="visible"/>
                                      </p:to>
                                    </p:set>
                                    <p:animEffect transition="in" filter="fade">
                                      <p:cBhvr>
                                        <p:cTn id="17" dur="500"/>
                                        <p:tgtEl>
                                          <p:spTgt spid="34"/>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1" grpId="0" animBg="1"/>
      <p:bldP spid="33" grpId="0" animBg="1"/>
      <p:bldP spid="34" grpId="0" animBg="1"/>
      <p:bldP spid="3"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9F9C243-F6F9-4217-BE94-EDB2B74004C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A9F9C243-F6F9-4217-BE94-EDB2B74004C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727749-65AB-4FAC-AC8A-78D01F343C6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400" b="1">
              <a:latin typeface="Calibri" panose="020F0502020204030204" pitchFamily="34" charset="0"/>
              <a:sym typeface="Calibri" panose="020F0502020204030204" pitchFamily="34" charset="0"/>
            </a:endParaRPr>
          </a:p>
        </p:txBody>
      </p:sp>
      <p:sp>
        <p:nvSpPr>
          <p:cNvPr id="9" name="TextBox 8">
            <a:extLst>
              <a:ext uri="{FF2B5EF4-FFF2-40B4-BE49-F238E27FC236}">
                <a16:creationId xmlns:a16="http://schemas.microsoft.com/office/drawing/2014/main" id="{9091F50D-EB45-46FF-9F95-4F903BBE2788}"/>
              </a:ext>
            </a:extLst>
          </p:cNvPr>
          <p:cNvSpPr txBox="1"/>
          <p:nvPr/>
        </p:nvSpPr>
        <p:spPr>
          <a:xfrm>
            <a:off x="472611" y="205483"/>
            <a:ext cx="10941978" cy="523220"/>
          </a:xfrm>
          <a:prstGeom prst="rect">
            <a:avLst/>
          </a:prstGeom>
          <a:noFill/>
        </p:spPr>
        <p:txBody>
          <a:bodyPr wrap="square" rtlCol="0">
            <a:spAutoFit/>
          </a:bodyPr>
          <a:lstStyle/>
          <a:p>
            <a:r>
              <a:rPr lang="en-US" sz="2800" b="1">
                <a:latin typeface="Georgia" panose="02040502050405020303" pitchFamily="18" charset="0"/>
              </a:rPr>
              <a:t>SUB-CATEGORY OPTIMIZATION RESULTS</a:t>
            </a:r>
          </a:p>
        </p:txBody>
      </p:sp>
      <p:grpSp>
        <p:nvGrpSpPr>
          <p:cNvPr id="6" name="Group 5">
            <a:extLst>
              <a:ext uri="{FF2B5EF4-FFF2-40B4-BE49-F238E27FC236}">
                <a16:creationId xmlns:a16="http://schemas.microsoft.com/office/drawing/2014/main" id="{5E30FEF6-5D45-45F5-987F-6B9AFF5208B1}"/>
              </a:ext>
            </a:extLst>
          </p:cNvPr>
          <p:cNvGrpSpPr/>
          <p:nvPr/>
        </p:nvGrpSpPr>
        <p:grpSpPr>
          <a:xfrm>
            <a:off x="-34366" y="6088478"/>
            <a:ext cx="12225995" cy="899900"/>
            <a:chOff x="-34366" y="6088478"/>
            <a:chExt cx="12225995" cy="899900"/>
          </a:xfrm>
        </p:grpSpPr>
        <p:sp>
          <p:nvSpPr>
            <p:cNvPr id="7" name="Rectangle 6">
              <a:extLst>
                <a:ext uri="{FF2B5EF4-FFF2-40B4-BE49-F238E27FC236}">
                  <a16:creationId xmlns:a16="http://schemas.microsoft.com/office/drawing/2014/main" id="{7743F998-A474-4BB6-8A16-00CA42D29A3D}"/>
                </a:ext>
              </a:extLst>
            </p:cNvPr>
            <p:cNvSpPr/>
            <p:nvPr/>
          </p:nvSpPr>
          <p:spPr>
            <a:xfrm>
              <a:off x="400050" y="6812280"/>
              <a:ext cx="11791579" cy="4572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a:t>
              </a:r>
            </a:p>
          </p:txBody>
        </p:sp>
        <p:pic>
          <p:nvPicPr>
            <p:cNvPr id="8" name="Graphic 7" descr="Toothpaste">
              <a:extLst>
                <a:ext uri="{FF2B5EF4-FFF2-40B4-BE49-F238E27FC236}">
                  <a16:creationId xmlns:a16="http://schemas.microsoft.com/office/drawing/2014/main" id="{1E3381BB-96CC-4D37-A4A0-D8048984A27A}"/>
                </a:ext>
              </a:extLst>
            </p:cNvPr>
            <p:cNvPicPr>
              <a:picLocks noChangeAspect="1"/>
            </p:cNvPicPr>
            <p:nvPr/>
          </p:nvPicPr>
          <p:blipFill>
            <a:blip r:embed="rId7" cstate="hq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6219692">
              <a:off x="-34366" y="6088478"/>
              <a:ext cx="598153" cy="598153"/>
            </a:xfrm>
            <a:prstGeom prst="rect">
              <a:avLst/>
            </a:prstGeom>
          </p:spPr>
        </p:pic>
        <p:pic>
          <p:nvPicPr>
            <p:cNvPr id="10" name="Graphic 9" descr="Snake">
              <a:extLst>
                <a:ext uri="{FF2B5EF4-FFF2-40B4-BE49-F238E27FC236}">
                  <a16:creationId xmlns:a16="http://schemas.microsoft.com/office/drawing/2014/main" id="{7C5E5996-E1F9-4F9B-BE2C-ECA47AB5A57E}"/>
                </a:ext>
              </a:extLst>
            </p:cNvPr>
            <p:cNvPicPr>
              <a:picLocks noChangeAspect="1"/>
            </p:cNvPicPr>
            <p:nvPr/>
          </p:nvPicPr>
          <p:blipFill rotWithShape="1">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rcRect l="-2" t="56027" r="47111"/>
            <a:stretch/>
          </p:blipFill>
          <p:spPr>
            <a:xfrm rot="7001259">
              <a:off x="297005" y="6680310"/>
              <a:ext cx="336423" cy="279713"/>
            </a:xfrm>
            <a:prstGeom prst="rect">
              <a:avLst/>
            </a:prstGeom>
          </p:spPr>
        </p:pic>
      </p:grpSp>
      <p:pic>
        <p:nvPicPr>
          <p:cNvPr id="13" name="Picture 12">
            <a:extLst>
              <a:ext uri="{FF2B5EF4-FFF2-40B4-BE49-F238E27FC236}">
                <a16:creationId xmlns:a16="http://schemas.microsoft.com/office/drawing/2014/main" id="{D090B7CC-019D-41AE-949F-9E256157ACF1}"/>
              </a:ext>
            </a:extLst>
          </p:cNvPr>
          <p:cNvPicPr>
            <a:picLocks noChangeAspect="1"/>
          </p:cNvPicPr>
          <p:nvPr/>
        </p:nvPicPr>
        <p:blipFill>
          <a:blip r:embed="rId11">
            <a:clrChange>
              <a:clrFrom>
                <a:srgbClr val="FFFFFF"/>
              </a:clrFrom>
              <a:clrTo>
                <a:srgbClr val="FFFFFF">
                  <a:alpha val="0"/>
                </a:srgbClr>
              </a:clrTo>
            </a:clrChange>
          </a:blip>
          <a:stretch>
            <a:fillRect/>
          </a:stretch>
        </p:blipFill>
        <p:spPr>
          <a:xfrm>
            <a:off x="2592532" y="792175"/>
            <a:ext cx="7606526" cy="5956633"/>
          </a:xfrm>
          <a:prstGeom prst="rect">
            <a:avLst/>
          </a:prstGeom>
        </p:spPr>
      </p:pic>
    </p:spTree>
    <p:extLst>
      <p:ext uri="{BB962C8B-B14F-4D97-AF65-F5344CB8AC3E}">
        <p14:creationId xmlns:p14="http://schemas.microsoft.com/office/powerpoint/2010/main" val="106889532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C6022BE-1AF0-4265-AC7E-F1925FF7ECA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4" imgW="415" imgH="416" progId="TCLayout.ActiveDocument.1">
                  <p:embed/>
                </p:oleObj>
              </mc:Choice>
              <mc:Fallback>
                <p:oleObj name="think-cell Slide" r:id="rId4" imgW="415" imgH="416" progId="TCLayout.ActiveDocument.1">
                  <p:embed/>
                  <p:pic>
                    <p:nvPicPr>
                      <p:cNvPr id="2" name="Object 1" hidden="1">
                        <a:extLst>
                          <a:ext uri="{FF2B5EF4-FFF2-40B4-BE49-F238E27FC236}">
                            <a16:creationId xmlns:a16="http://schemas.microsoft.com/office/drawing/2014/main" id="{9C6022BE-1AF0-4265-AC7E-F1925FF7EC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A8F32067-C175-462A-9013-2C267B4CEDB2}"/>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122739" y="860288"/>
            <a:ext cx="6068803" cy="5817914"/>
          </a:xfrm>
          <a:prstGeom prst="rect">
            <a:avLst/>
          </a:prstGeom>
        </p:spPr>
      </p:pic>
      <p:cxnSp>
        <p:nvCxnSpPr>
          <p:cNvPr id="12" name="Straight Arrow Connector 11">
            <a:extLst>
              <a:ext uri="{FF2B5EF4-FFF2-40B4-BE49-F238E27FC236}">
                <a16:creationId xmlns:a16="http://schemas.microsoft.com/office/drawing/2014/main" id="{3E3986C0-BE6F-4A48-92A2-51F544837ACB}"/>
              </a:ext>
            </a:extLst>
          </p:cNvPr>
          <p:cNvCxnSpPr/>
          <p:nvPr/>
        </p:nvCxnSpPr>
        <p:spPr>
          <a:xfrm>
            <a:off x="1654140" y="2948683"/>
            <a:ext cx="5034337"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38399C9F-7571-44BA-986E-4A6EF385B412}"/>
              </a:ext>
            </a:extLst>
          </p:cNvPr>
          <p:cNvCxnSpPr/>
          <p:nvPr/>
        </p:nvCxnSpPr>
        <p:spPr>
          <a:xfrm>
            <a:off x="1654139" y="3097804"/>
            <a:ext cx="5034337"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214253F9-36EF-472D-B0EB-BC42EAF79219}"/>
              </a:ext>
            </a:extLst>
          </p:cNvPr>
          <p:cNvCxnSpPr>
            <a:cxnSpLocks/>
            <a:endCxn id="15" idx="1"/>
          </p:cNvCxnSpPr>
          <p:nvPr/>
        </p:nvCxnSpPr>
        <p:spPr>
          <a:xfrm>
            <a:off x="3347657" y="1549692"/>
            <a:ext cx="5137083"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3541E1FA-786F-4226-9EA2-5A6DDB2F4CDF}"/>
              </a:ext>
            </a:extLst>
          </p:cNvPr>
          <p:cNvSpPr txBox="1"/>
          <p:nvPr/>
        </p:nvSpPr>
        <p:spPr>
          <a:xfrm>
            <a:off x="8484740" y="1365026"/>
            <a:ext cx="5054885" cy="369332"/>
          </a:xfrm>
          <a:prstGeom prst="rect">
            <a:avLst/>
          </a:prstGeom>
          <a:noFill/>
        </p:spPr>
        <p:txBody>
          <a:bodyPr wrap="square" rtlCol="0">
            <a:spAutoFit/>
          </a:bodyPr>
          <a:lstStyle/>
          <a:p>
            <a:r>
              <a:rPr lang="en-US">
                <a:latin typeface="Georgia" panose="02040502050405020303" pitchFamily="18" charset="0"/>
              </a:rPr>
              <a:t>Objective Function</a:t>
            </a:r>
          </a:p>
        </p:txBody>
      </p:sp>
      <p:cxnSp>
        <p:nvCxnSpPr>
          <p:cNvPr id="16" name="Straight Arrow Connector 15">
            <a:extLst>
              <a:ext uri="{FF2B5EF4-FFF2-40B4-BE49-F238E27FC236}">
                <a16:creationId xmlns:a16="http://schemas.microsoft.com/office/drawing/2014/main" id="{62B7779D-6B92-4625-BC89-438A54EF3B29}"/>
              </a:ext>
            </a:extLst>
          </p:cNvPr>
          <p:cNvCxnSpPr>
            <a:cxnSpLocks/>
            <a:endCxn id="19" idx="1"/>
          </p:cNvCxnSpPr>
          <p:nvPr/>
        </p:nvCxnSpPr>
        <p:spPr>
          <a:xfrm flipV="1">
            <a:off x="1214060" y="2411008"/>
            <a:ext cx="7299791" cy="2"/>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A3D6B498-DFBF-4463-8158-8D63319AA404}"/>
              </a:ext>
            </a:extLst>
          </p:cNvPr>
          <p:cNvSpPr txBox="1"/>
          <p:nvPr/>
        </p:nvSpPr>
        <p:spPr>
          <a:xfrm>
            <a:off x="8513851" y="2226342"/>
            <a:ext cx="5054885" cy="369332"/>
          </a:xfrm>
          <a:prstGeom prst="rect">
            <a:avLst/>
          </a:prstGeom>
          <a:noFill/>
        </p:spPr>
        <p:txBody>
          <a:bodyPr wrap="square" rtlCol="0">
            <a:spAutoFit/>
          </a:bodyPr>
          <a:lstStyle/>
          <a:p>
            <a:r>
              <a:rPr lang="en-US">
                <a:latin typeface="Georgia" panose="02040502050405020303" pitchFamily="18" charset="0"/>
              </a:rPr>
              <a:t>Decision Variables</a:t>
            </a:r>
          </a:p>
        </p:txBody>
      </p:sp>
      <p:cxnSp>
        <p:nvCxnSpPr>
          <p:cNvPr id="20" name="Straight Arrow Connector 19">
            <a:extLst>
              <a:ext uri="{FF2B5EF4-FFF2-40B4-BE49-F238E27FC236}">
                <a16:creationId xmlns:a16="http://schemas.microsoft.com/office/drawing/2014/main" id="{F16424CD-EE33-4C21-80BF-A0254492C416}"/>
              </a:ext>
            </a:extLst>
          </p:cNvPr>
          <p:cNvCxnSpPr/>
          <p:nvPr/>
        </p:nvCxnSpPr>
        <p:spPr>
          <a:xfrm>
            <a:off x="1657984" y="3240778"/>
            <a:ext cx="5034337"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C4B6C4D1-894E-481D-967C-0A108B8409CE}"/>
              </a:ext>
            </a:extLst>
          </p:cNvPr>
          <p:cNvSpPr txBox="1"/>
          <p:nvPr/>
        </p:nvSpPr>
        <p:spPr>
          <a:xfrm>
            <a:off x="6760395" y="3096315"/>
            <a:ext cx="5054885" cy="276999"/>
          </a:xfrm>
          <a:prstGeom prst="rect">
            <a:avLst/>
          </a:prstGeom>
          <a:noFill/>
        </p:spPr>
        <p:txBody>
          <a:bodyPr wrap="square" rtlCol="0">
            <a:spAutoFit/>
          </a:bodyPr>
          <a:lstStyle/>
          <a:p>
            <a:r>
              <a:rPr lang="en-US" sz="1200">
                <a:latin typeface="Georgia" panose="02040502050405020303" pitchFamily="18" charset="0"/>
              </a:rPr>
              <a:t>Constraint 4</a:t>
            </a:r>
          </a:p>
        </p:txBody>
      </p:sp>
      <p:cxnSp>
        <p:nvCxnSpPr>
          <p:cNvPr id="22" name="Straight Arrow Connector 21">
            <a:extLst>
              <a:ext uri="{FF2B5EF4-FFF2-40B4-BE49-F238E27FC236}">
                <a16:creationId xmlns:a16="http://schemas.microsoft.com/office/drawing/2014/main" id="{653ECA5C-C093-4E74-9674-5D1EB470A85C}"/>
              </a:ext>
            </a:extLst>
          </p:cNvPr>
          <p:cNvCxnSpPr/>
          <p:nvPr/>
        </p:nvCxnSpPr>
        <p:spPr>
          <a:xfrm>
            <a:off x="1664275" y="3383752"/>
            <a:ext cx="5034337"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E15B7DBC-21FF-4093-9D00-2E224FCC7475}"/>
              </a:ext>
            </a:extLst>
          </p:cNvPr>
          <p:cNvSpPr txBox="1"/>
          <p:nvPr/>
        </p:nvSpPr>
        <p:spPr>
          <a:xfrm>
            <a:off x="6759613" y="3272280"/>
            <a:ext cx="5054885" cy="276999"/>
          </a:xfrm>
          <a:prstGeom prst="rect">
            <a:avLst/>
          </a:prstGeom>
          <a:noFill/>
        </p:spPr>
        <p:txBody>
          <a:bodyPr wrap="square" rtlCol="0">
            <a:spAutoFit/>
          </a:bodyPr>
          <a:lstStyle/>
          <a:p>
            <a:r>
              <a:rPr lang="en-US" sz="1200">
                <a:latin typeface="Georgia" panose="02040502050405020303" pitchFamily="18" charset="0"/>
              </a:rPr>
              <a:t>Constraint 5</a:t>
            </a:r>
          </a:p>
        </p:txBody>
      </p:sp>
      <p:cxnSp>
        <p:nvCxnSpPr>
          <p:cNvPr id="24" name="Straight Arrow Connector 23">
            <a:extLst>
              <a:ext uri="{FF2B5EF4-FFF2-40B4-BE49-F238E27FC236}">
                <a16:creationId xmlns:a16="http://schemas.microsoft.com/office/drawing/2014/main" id="{6D63D36B-0267-48FF-88F8-040771878630}"/>
              </a:ext>
            </a:extLst>
          </p:cNvPr>
          <p:cNvCxnSpPr/>
          <p:nvPr/>
        </p:nvCxnSpPr>
        <p:spPr>
          <a:xfrm>
            <a:off x="1665852" y="3536152"/>
            <a:ext cx="5034337"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DE81560A-7DE5-40ED-9D3D-CCEDA2019750}"/>
              </a:ext>
            </a:extLst>
          </p:cNvPr>
          <p:cNvCxnSpPr/>
          <p:nvPr/>
        </p:nvCxnSpPr>
        <p:spPr>
          <a:xfrm>
            <a:off x="1667420" y="3679126"/>
            <a:ext cx="5034337"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C092B11A-FBFE-47FA-AB53-5E2C03F53399}"/>
              </a:ext>
            </a:extLst>
          </p:cNvPr>
          <p:cNvSpPr txBox="1"/>
          <p:nvPr/>
        </p:nvSpPr>
        <p:spPr>
          <a:xfrm>
            <a:off x="6759614" y="3465614"/>
            <a:ext cx="5054885" cy="276999"/>
          </a:xfrm>
          <a:prstGeom prst="rect">
            <a:avLst/>
          </a:prstGeom>
          <a:noFill/>
        </p:spPr>
        <p:txBody>
          <a:bodyPr wrap="square" rtlCol="0">
            <a:spAutoFit/>
          </a:bodyPr>
          <a:lstStyle/>
          <a:p>
            <a:r>
              <a:rPr lang="en-US" sz="1200">
                <a:latin typeface="Georgia" panose="02040502050405020303" pitchFamily="18" charset="0"/>
              </a:rPr>
              <a:t>Constraint 1</a:t>
            </a:r>
          </a:p>
        </p:txBody>
      </p:sp>
      <p:cxnSp>
        <p:nvCxnSpPr>
          <p:cNvPr id="27" name="Straight Arrow Connector 26">
            <a:extLst>
              <a:ext uri="{FF2B5EF4-FFF2-40B4-BE49-F238E27FC236}">
                <a16:creationId xmlns:a16="http://schemas.microsoft.com/office/drawing/2014/main" id="{9F84CAD9-9D79-40FD-BBA7-A57066378483}"/>
              </a:ext>
            </a:extLst>
          </p:cNvPr>
          <p:cNvCxnSpPr/>
          <p:nvPr/>
        </p:nvCxnSpPr>
        <p:spPr>
          <a:xfrm>
            <a:off x="1672779" y="3817387"/>
            <a:ext cx="5034337"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778232BD-0C7F-4F09-9C8E-630290DF54DE}"/>
              </a:ext>
            </a:extLst>
          </p:cNvPr>
          <p:cNvSpPr txBox="1"/>
          <p:nvPr/>
        </p:nvSpPr>
        <p:spPr>
          <a:xfrm>
            <a:off x="6758829" y="3674576"/>
            <a:ext cx="5054885" cy="276999"/>
          </a:xfrm>
          <a:prstGeom prst="rect">
            <a:avLst/>
          </a:prstGeom>
          <a:noFill/>
        </p:spPr>
        <p:txBody>
          <a:bodyPr wrap="square" rtlCol="0">
            <a:spAutoFit/>
          </a:bodyPr>
          <a:lstStyle/>
          <a:p>
            <a:r>
              <a:rPr lang="en-US" sz="1200">
                <a:latin typeface="Georgia" panose="02040502050405020303" pitchFamily="18" charset="0"/>
              </a:rPr>
              <a:t>Constraint 3</a:t>
            </a:r>
          </a:p>
        </p:txBody>
      </p:sp>
      <p:sp>
        <p:nvSpPr>
          <p:cNvPr id="29" name="TextBox 28">
            <a:extLst>
              <a:ext uri="{FF2B5EF4-FFF2-40B4-BE49-F238E27FC236}">
                <a16:creationId xmlns:a16="http://schemas.microsoft.com/office/drawing/2014/main" id="{5553448E-EEC0-44DB-AF5F-60BB7D8141C3}"/>
              </a:ext>
            </a:extLst>
          </p:cNvPr>
          <p:cNvSpPr txBox="1"/>
          <p:nvPr/>
        </p:nvSpPr>
        <p:spPr>
          <a:xfrm>
            <a:off x="6761974" y="2876357"/>
            <a:ext cx="5054885" cy="276999"/>
          </a:xfrm>
          <a:prstGeom prst="rect">
            <a:avLst/>
          </a:prstGeom>
          <a:noFill/>
        </p:spPr>
        <p:txBody>
          <a:bodyPr wrap="square" rtlCol="0">
            <a:spAutoFit/>
          </a:bodyPr>
          <a:lstStyle/>
          <a:p>
            <a:r>
              <a:rPr lang="en-US" sz="1200">
                <a:latin typeface="Georgia" panose="02040502050405020303" pitchFamily="18" charset="0"/>
              </a:rPr>
              <a:t>Constraint 2</a:t>
            </a:r>
          </a:p>
        </p:txBody>
      </p:sp>
      <p:cxnSp>
        <p:nvCxnSpPr>
          <p:cNvPr id="30" name="Straight Arrow Connector 29">
            <a:extLst>
              <a:ext uri="{FF2B5EF4-FFF2-40B4-BE49-F238E27FC236}">
                <a16:creationId xmlns:a16="http://schemas.microsoft.com/office/drawing/2014/main" id="{34F9305B-2C72-4D6C-8DFA-D9DF3B394CBD}"/>
              </a:ext>
            </a:extLst>
          </p:cNvPr>
          <p:cNvCxnSpPr>
            <a:cxnSpLocks/>
            <a:endCxn id="32" idx="1"/>
          </p:cNvCxnSpPr>
          <p:nvPr/>
        </p:nvCxnSpPr>
        <p:spPr>
          <a:xfrm>
            <a:off x="2298841" y="4946805"/>
            <a:ext cx="6215015" cy="9845"/>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140EB6D2-11C9-4BB3-93F5-E14991608B5C}"/>
              </a:ext>
            </a:extLst>
          </p:cNvPr>
          <p:cNvSpPr txBox="1"/>
          <p:nvPr/>
        </p:nvSpPr>
        <p:spPr>
          <a:xfrm>
            <a:off x="8513856" y="4771984"/>
            <a:ext cx="5054885" cy="369332"/>
          </a:xfrm>
          <a:prstGeom prst="rect">
            <a:avLst/>
          </a:prstGeom>
          <a:noFill/>
        </p:spPr>
        <p:txBody>
          <a:bodyPr wrap="square" rtlCol="0">
            <a:spAutoFit/>
          </a:bodyPr>
          <a:lstStyle/>
          <a:p>
            <a:r>
              <a:rPr lang="en-US">
                <a:latin typeface="Georgia" panose="02040502050405020303" pitchFamily="18" charset="0"/>
              </a:rPr>
              <a:t>Solving Method</a:t>
            </a:r>
          </a:p>
        </p:txBody>
      </p:sp>
      <p:sp>
        <p:nvSpPr>
          <p:cNvPr id="33" name="TextBox 32">
            <a:extLst>
              <a:ext uri="{FF2B5EF4-FFF2-40B4-BE49-F238E27FC236}">
                <a16:creationId xmlns:a16="http://schemas.microsoft.com/office/drawing/2014/main" id="{9DB91EC4-6362-4CEE-9BDE-626F01416C17}"/>
              </a:ext>
            </a:extLst>
          </p:cNvPr>
          <p:cNvSpPr txBox="1"/>
          <p:nvPr/>
        </p:nvSpPr>
        <p:spPr>
          <a:xfrm>
            <a:off x="233082" y="251012"/>
            <a:ext cx="10941978" cy="523220"/>
          </a:xfrm>
          <a:prstGeom prst="rect">
            <a:avLst/>
          </a:prstGeom>
          <a:noFill/>
        </p:spPr>
        <p:txBody>
          <a:bodyPr wrap="square" rtlCol="0">
            <a:spAutoFit/>
          </a:bodyPr>
          <a:lstStyle/>
          <a:p>
            <a:r>
              <a:rPr lang="en-US" sz="2800" b="1">
                <a:latin typeface="Georgia" panose="02040502050405020303" pitchFamily="18" charset="0"/>
              </a:rPr>
              <a:t>OPTIMIZATION – PROTOTYPE ON EXCEL SOLVER</a:t>
            </a:r>
            <a:endParaRPr lang="en-US" sz="3200" b="1">
              <a:latin typeface="Georgia" panose="02040502050405020303" pitchFamily="18" charset="0"/>
            </a:endParaRPr>
          </a:p>
        </p:txBody>
      </p:sp>
      <p:grpSp>
        <p:nvGrpSpPr>
          <p:cNvPr id="4" name="Group 3">
            <a:extLst>
              <a:ext uri="{FF2B5EF4-FFF2-40B4-BE49-F238E27FC236}">
                <a16:creationId xmlns:a16="http://schemas.microsoft.com/office/drawing/2014/main" id="{D5C8223E-8D87-4C87-BBBE-8FFE09E131C2}"/>
              </a:ext>
            </a:extLst>
          </p:cNvPr>
          <p:cNvGrpSpPr/>
          <p:nvPr/>
        </p:nvGrpSpPr>
        <p:grpSpPr>
          <a:xfrm>
            <a:off x="-34366" y="6088478"/>
            <a:ext cx="12225995" cy="899900"/>
            <a:chOff x="-34366" y="6088478"/>
            <a:chExt cx="12225995" cy="899900"/>
          </a:xfrm>
        </p:grpSpPr>
        <p:sp>
          <p:nvSpPr>
            <p:cNvPr id="31" name="Rectangle 30">
              <a:extLst>
                <a:ext uri="{FF2B5EF4-FFF2-40B4-BE49-F238E27FC236}">
                  <a16:creationId xmlns:a16="http://schemas.microsoft.com/office/drawing/2014/main" id="{01330292-0E1B-42A2-A857-DB485CB46554}"/>
                </a:ext>
              </a:extLst>
            </p:cNvPr>
            <p:cNvSpPr/>
            <p:nvPr/>
          </p:nvSpPr>
          <p:spPr>
            <a:xfrm>
              <a:off x="400050" y="6812280"/>
              <a:ext cx="11791579" cy="4572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a:t>
              </a:r>
            </a:p>
          </p:txBody>
        </p:sp>
        <p:pic>
          <p:nvPicPr>
            <p:cNvPr id="34" name="Graphic 33" descr="Toothpaste">
              <a:extLst>
                <a:ext uri="{FF2B5EF4-FFF2-40B4-BE49-F238E27FC236}">
                  <a16:creationId xmlns:a16="http://schemas.microsoft.com/office/drawing/2014/main" id="{D074DF44-8F1A-4764-A347-6B83DE56C6C0}"/>
                </a:ext>
              </a:extLst>
            </p:cNvPr>
            <p:cNvPicPr>
              <a:picLocks noChangeAspect="1"/>
            </p:cNvPicPr>
            <p:nvPr/>
          </p:nvPicPr>
          <p:blipFill>
            <a:blip r:embed="rId7" cstate="hq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6219692">
              <a:off x="-34366" y="6088478"/>
              <a:ext cx="598153" cy="598153"/>
            </a:xfrm>
            <a:prstGeom prst="rect">
              <a:avLst/>
            </a:prstGeom>
          </p:spPr>
        </p:pic>
        <p:pic>
          <p:nvPicPr>
            <p:cNvPr id="35" name="Graphic 34" descr="Snake">
              <a:extLst>
                <a:ext uri="{FF2B5EF4-FFF2-40B4-BE49-F238E27FC236}">
                  <a16:creationId xmlns:a16="http://schemas.microsoft.com/office/drawing/2014/main" id="{FC5FC754-AC5B-4F35-A4DE-70B92E3FDEF5}"/>
                </a:ext>
              </a:extLst>
            </p:cNvPr>
            <p:cNvPicPr>
              <a:picLocks noChangeAspect="1"/>
            </p:cNvPicPr>
            <p:nvPr/>
          </p:nvPicPr>
          <p:blipFill rotWithShape="1">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rcRect l="-2" t="56027" r="47111"/>
            <a:stretch/>
          </p:blipFill>
          <p:spPr>
            <a:xfrm rot="7001259">
              <a:off x="297005" y="6680310"/>
              <a:ext cx="336423" cy="279713"/>
            </a:xfrm>
            <a:prstGeom prst="rect">
              <a:avLst/>
            </a:prstGeom>
          </p:spPr>
        </p:pic>
      </p:grpSp>
    </p:spTree>
    <p:extLst>
      <p:ext uri="{BB962C8B-B14F-4D97-AF65-F5344CB8AC3E}">
        <p14:creationId xmlns:p14="http://schemas.microsoft.com/office/powerpoint/2010/main" val="30951618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ight Triangle 4">
            <a:extLst>
              <a:ext uri="{FF2B5EF4-FFF2-40B4-BE49-F238E27FC236}">
                <a16:creationId xmlns:a16="http://schemas.microsoft.com/office/drawing/2014/main" id="{0230B4A8-42BC-44F2-8424-DB025E09840C}"/>
              </a:ext>
            </a:extLst>
          </p:cNvPr>
          <p:cNvSpPr/>
          <p:nvPr/>
        </p:nvSpPr>
        <p:spPr>
          <a:xfrm flipH="1">
            <a:off x="4928838" y="0"/>
            <a:ext cx="7263161" cy="6857999"/>
          </a:xfrm>
          <a:prstGeom prst="rtTriangl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rapezoid 5">
            <a:extLst>
              <a:ext uri="{FF2B5EF4-FFF2-40B4-BE49-F238E27FC236}">
                <a16:creationId xmlns:a16="http://schemas.microsoft.com/office/drawing/2014/main" id="{362A30F9-E859-4834-8C11-58A839DCC689}"/>
              </a:ext>
            </a:extLst>
          </p:cNvPr>
          <p:cNvSpPr/>
          <p:nvPr/>
        </p:nvSpPr>
        <p:spPr>
          <a:xfrm>
            <a:off x="3962400" y="0"/>
            <a:ext cx="7824440" cy="6857999"/>
          </a:xfrm>
          <a:prstGeom prst="trapezoid">
            <a:avLst>
              <a:gd name="adj" fmla="val 64309"/>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Isosceles Triangle 7">
            <a:extLst>
              <a:ext uri="{FF2B5EF4-FFF2-40B4-BE49-F238E27FC236}">
                <a16:creationId xmlns:a16="http://schemas.microsoft.com/office/drawing/2014/main" id="{26ACC312-B3EF-4D95-836D-2893E512D694}"/>
              </a:ext>
            </a:extLst>
          </p:cNvPr>
          <p:cNvSpPr/>
          <p:nvPr/>
        </p:nvSpPr>
        <p:spPr>
          <a:xfrm flipV="1">
            <a:off x="7874000" y="-2"/>
            <a:ext cx="4317999" cy="2865864"/>
          </a:xfrm>
          <a:prstGeom prst="triangle">
            <a:avLst>
              <a:gd name="adj" fmla="val 37959"/>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 name="Group 2">
            <a:extLst>
              <a:ext uri="{FF2B5EF4-FFF2-40B4-BE49-F238E27FC236}">
                <a16:creationId xmlns:a16="http://schemas.microsoft.com/office/drawing/2014/main" id="{1DE82A48-A6B9-4357-A745-2EE71B55F262}"/>
              </a:ext>
            </a:extLst>
          </p:cNvPr>
          <p:cNvGrpSpPr/>
          <p:nvPr/>
        </p:nvGrpSpPr>
        <p:grpSpPr>
          <a:xfrm>
            <a:off x="891672" y="1355491"/>
            <a:ext cx="2044685" cy="4663440"/>
            <a:chOff x="770541" y="1355491"/>
            <a:chExt cx="2044685" cy="4663440"/>
          </a:xfrm>
        </p:grpSpPr>
        <p:sp>
          <p:nvSpPr>
            <p:cNvPr id="10" name="Trapezoid 9">
              <a:extLst>
                <a:ext uri="{FF2B5EF4-FFF2-40B4-BE49-F238E27FC236}">
                  <a16:creationId xmlns:a16="http://schemas.microsoft.com/office/drawing/2014/main" id="{F23F44BD-2AD0-49CB-A758-7D27871C6EA1}"/>
                </a:ext>
                <a:ext uri="{C183D7F6-B498-43B3-948B-1728B52AA6E4}">
                  <adec:decorative xmlns:adec="http://schemas.microsoft.com/office/drawing/2017/decorative" val="1"/>
                </a:ext>
              </a:extLst>
            </p:cNvPr>
            <p:cNvSpPr/>
            <p:nvPr/>
          </p:nvSpPr>
          <p:spPr>
            <a:xfrm rot="5400000">
              <a:off x="-538836" y="2664868"/>
              <a:ext cx="4663440" cy="2044685"/>
            </a:xfrm>
            <a:prstGeom prst="trapezoid">
              <a:avLst/>
            </a:prstGeom>
            <a:solidFill>
              <a:srgbClr val="26859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8" name="Rectangle 17">
              <a:extLst>
                <a:ext uri="{FF2B5EF4-FFF2-40B4-BE49-F238E27FC236}">
                  <a16:creationId xmlns:a16="http://schemas.microsoft.com/office/drawing/2014/main" id="{E4B6C700-EF56-4535-93A6-090DDB829A79}"/>
                </a:ext>
              </a:extLst>
            </p:cNvPr>
            <p:cNvSpPr/>
            <p:nvPr/>
          </p:nvSpPr>
          <p:spPr>
            <a:xfrm>
              <a:off x="993304" y="4489514"/>
              <a:ext cx="1537775" cy="830997"/>
            </a:xfrm>
            <a:prstGeom prst="rect">
              <a:avLst/>
            </a:prstGeom>
          </p:spPr>
          <p:txBody>
            <a:bodyPr wrap="square" lIns="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1">
                  <a:solidFill>
                    <a:schemeClr val="bg1"/>
                  </a:solidFill>
                  <a:latin typeface="Book Antiqua" panose="02040602050305030304" pitchFamily="18" charset="0"/>
                </a:rPr>
                <a:t>Introduction and Problem Statement</a:t>
              </a:r>
            </a:p>
          </p:txBody>
        </p:sp>
        <p:sp>
          <p:nvSpPr>
            <p:cNvPr id="20" name="Freeform 1676" descr="Icon of check box. ">
              <a:extLst>
                <a:ext uri="{FF2B5EF4-FFF2-40B4-BE49-F238E27FC236}">
                  <a16:creationId xmlns:a16="http://schemas.microsoft.com/office/drawing/2014/main" id="{6385CC93-13F0-482B-BECE-A7B82F5EA8E6}"/>
                </a:ext>
              </a:extLst>
            </p:cNvPr>
            <p:cNvSpPr>
              <a:spLocks noEditPoints="1"/>
            </p:cNvSpPr>
            <p:nvPr/>
          </p:nvSpPr>
          <p:spPr bwMode="auto">
            <a:xfrm>
              <a:off x="1201778" y="2997373"/>
              <a:ext cx="1199054" cy="1199054"/>
            </a:xfrm>
            <a:custGeom>
              <a:avLst/>
              <a:gdLst>
                <a:gd name="T0" fmla="*/ 374 w 719"/>
                <a:gd name="T1" fmla="*/ 267 h 719"/>
                <a:gd name="T2" fmla="*/ 366 w 719"/>
                <a:gd name="T3" fmla="*/ 263 h 719"/>
                <a:gd name="T4" fmla="*/ 362 w 719"/>
                <a:gd name="T5" fmla="*/ 254 h 719"/>
                <a:gd name="T6" fmla="*/ 366 w 719"/>
                <a:gd name="T7" fmla="*/ 247 h 719"/>
                <a:gd name="T8" fmla="*/ 374 w 719"/>
                <a:gd name="T9" fmla="*/ 243 h 719"/>
                <a:gd name="T10" fmla="*/ 621 w 719"/>
                <a:gd name="T11" fmla="*/ 244 h 719"/>
                <a:gd name="T12" fmla="*/ 627 w 719"/>
                <a:gd name="T13" fmla="*/ 250 h 719"/>
                <a:gd name="T14" fmla="*/ 627 w 719"/>
                <a:gd name="T15" fmla="*/ 260 h 719"/>
                <a:gd name="T16" fmla="*/ 621 w 719"/>
                <a:gd name="T17" fmla="*/ 265 h 719"/>
                <a:gd name="T18" fmla="*/ 616 w 719"/>
                <a:gd name="T19" fmla="*/ 528 h 719"/>
                <a:gd name="T20" fmla="*/ 370 w 719"/>
                <a:gd name="T21" fmla="*/ 527 h 719"/>
                <a:gd name="T22" fmla="*/ 363 w 719"/>
                <a:gd name="T23" fmla="*/ 521 h 719"/>
                <a:gd name="T24" fmla="*/ 363 w 719"/>
                <a:gd name="T25" fmla="*/ 512 h 719"/>
                <a:gd name="T26" fmla="*/ 370 w 719"/>
                <a:gd name="T27" fmla="*/ 505 h 719"/>
                <a:gd name="T28" fmla="*/ 616 w 719"/>
                <a:gd name="T29" fmla="*/ 504 h 719"/>
                <a:gd name="T30" fmla="*/ 625 w 719"/>
                <a:gd name="T31" fmla="*/ 507 h 719"/>
                <a:gd name="T32" fmla="*/ 628 w 719"/>
                <a:gd name="T33" fmla="*/ 516 h 719"/>
                <a:gd name="T34" fmla="*/ 625 w 719"/>
                <a:gd name="T35" fmla="*/ 525 h 719"/>
                <a:gd name="T36" fmla="*/ 616 w 719"/>
                <a:gd name="T37" fmla="*/ 528 h 719"/>
                <a:gd name="T38" fmla="*/ 171 w 719"/>
                <a:gd name="T39" fmla="*/ 279 h 719"/>
                <a:gd name="T40" fmla="*/ 164 w 719"/>
                <a:gd name="T41" fmla="*/ 282 h 719"/>
                <a:gd name="T42" fmla="*/ 155 w 719"/>
                <a:gd name="T43" fmla="*/ 279 h 719"/>
                <a:gd name="T44" fmla="*/ 92 w 719"/>
                <a:gd name="T45" fmla="*/ 214 h 719"/>
                <a:gd name="T46" fmla="*/ 92 w 719"/>
                <a:gd name="T47" fmla="*/ 205 h 719"/>
                <a:gd name="T48" fmla="*/ 98 w 719"/>
                <a:gd name="T49" fmla="*/ 198 h 719"/>
                <a:gd name="T50" fmla="*/ 107 w 719"/>
                <a:gd name="T51" fmla="*/ 198 h 719"/>
                <a:gd name="T52" fmla="*/ 164 w 719"/>
                <a:gd name="T53" fmla="*/ 253 h 719"/>
                <a:gd name="T54" fmla="*/ 309 w 719"/>
                <a:gd name="T55" fmla="*/ 109 h 719"/>
                <a:gd name="T56" fmla="*/ 318 w 719"/>
                <a:gd name="T57" fmla="*/ 109 h 719"/>
                <a:gd name="T58" fmla="*/ 325 w 719"/>
                <a:gd name="T59" fmla="*/ 114 h 719"/>
                <a:gd name="T60" fmla="*/ 325 w 719"/>
                <a:gd name="T61" fmla="*/ 124 h 719"/>
                <a:gd name="T62" fmla="*/ 323 w 719"/>
                <a:gd name="T63" fmla="*/ 414 h 719"/>
                <a:gd name="T64" fmla="*/ 168 w 719"/>
                <a:gd name="T65" fmla="*/ 568 h 719"/>
                <a:gd name="T66" fmla="*/ 158 w 719"/>
                <a:gd name="T67" fmla="*/ 568 h 719"/>
                <a:gd name="T68" fmla="*/ 94 w 719"/>
                <a:gd name="T69" fmla="*/ 505 h 719"/>
                <a:gd name="T70" fmla="*/ 91 w 719"/>
                <a:gd name="T71" fmla="*/ 497 h 719"/>
                <a:gd name="T72" fmla="*/ 94 w 719"/>
                <a:gd name="T73" fmla="*/ 488 h 719"/>
                <a:gd name="T74" fmla="*/ 103 w 719"/>
                <a:gd name="T75" fmla="*/ 485 h 719"/>
                <a:gd name="T76" fmla="*/ 111 w 719"/>
                <a:gd name="T77" fmla="*/ 488 h 719"/>
                <a:gd name="T78" fmla="*/ 306 w 719"/>
                <a:gd name="T79" fmla="*/ 397 h 719"/>
                <a:gd name="T80" fmla="*/ 314 w 719"/>
                <a:gd name="T81" fmla="*/ 394 h 719"/>
                <a:gd name="T82" fmla="*/ 323 w 719"/>
                <a:gd name="T83" fmla="*/ 398 h 719"/>
                <a:gd name="T84" fmla="*/ 326 w 719"/>
                <a:gd name="T85" fmla="*/ 406 h 719"/>
                <a:gd name="T86" fmla="*/ 323 w 719"/>
                <a:gd name="T87" fmla="*/ 414 h 719"/>
                <a:gd name="T88" fmla="*/ 12 w 719"/>
                <a:gd name="T89" fmla="*/ 0 h 719"/>
                <a:gd name="T90" fmla="*/ 3 w 719"/>
                <a:gd name="T91" fmla="*/ 5 h 719"/>
                <a:gd name="T92" fmla="*/ 0 w 719"/>
                <a:gd name="T93" fmla="*/ 13 h 719"/>
                <a:gd name="T94" fmla="*/ 1 w 719"/>
                <a:gd name="T95" fmla="*/ 713 h 719"/>
                <a:gd name="T96" fmla="*/ 8 w 719"/>
                <a:gd name="T97" fmla="*/ 719 h 719"/>
                <a:gd name="T98" fmla="*/ 707 w 719"/>
                <a:gd name="T99" fmla="*/ 719 h 719"/>
                <a:gd name="T100" fmla="*/ 716 w 719"/>
                <a:gd name="T101" fmla="*/ 716 h 719"/>
                <a:gd name="T102" fmla="*/ 719 w 719"/>
                <a:gd name="T103" fmla="*/ 707 h 719"/>
                <a:gd name="T104" fmla="*/ 718 w 719"/>
                <a:gd name="T105" fmla="*/ 8 h 719"/>
                <a:gd name="T106" fmla="*/ 711 w 719"/>
                <a:gd name="T107" fmla="*/ 2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19" h="719">
                  <a:moveTo>
                    <a:pt x="616" y="267"/>
                  </a:moveTo>
                  <a:lnTo>
                    <a:pt x="374" y="267"/>
                  </a:lnTo>
                  <a:lnTo>
                    <a:pt x="370" y="265"/>
                  </a:lnTo>
                  <a:lnTo>
                    <a:pt x="366" y="263"/>
                  </a:lnTo>
                  <a:lnTo>
                    <a:pt x="363" y="260"/>
                  </a:lnTo>
                  <a:lnTo>
                    <a:pt x="362" y="254"/>
                  </a:lnTo>
                  <a:lnTo>
                    <a:pt x="363" y="250"/>
                  </a:lnTo>
                  <a:lnTo>
                    <a:pt x="366" y="247"/>
                  </a:lnTo>
                  <a:lnTo>
                    <a:pt x="370" y="244"/>
                  </a:lnTo>
                  <a:lnTo>
                    <a:pt x="374" y="243"/>
                  </a:lnTo>
                  <a:lnTo>
                    <a:pt x="616" y="243"/>
                  </a:lnTo>
                  <a:lnTo>
                    <a:pt x="621" y="244"/>
                  </a:lnTo>
                  <a:lnTo>
                    <a:pt x="625" y="247"/>
                  </a:lnTo>
                  <a:lnTo>
                    <a:pt x="627" y="250"/>
                  </a:lnTo>
                  <a:lnTo>
                    <a:pt x="628" y="254"/>
                  </a:lnTo>
                  <a:lnTo>
                    <a:pt x="627" y="260"/>
                  </a:lnTo>
                  <a:lnTo>
                    <a:pt x="625" y="263"/>
                  </a:lnTo>
                  <a:lnTo>
                    <a:pt x="621" y="265"/>
                  </a:lnTo>
                  <a:lnTo>
                    <a:pt x="616" y="267"/>
                  </a:lnTo>
                  <a:close/>
                  <a:moveTo>
                    <a:pt x="616" y="528"/>
                  </a:moveTo>
                  <a:lnTo>
                    <a:pt x="374" y="528"/>
                  </a:lnTo>
                  <a:lnTo>
                    <a:pt x="370" y="527"/>
                  </a:lnTo>
                  <a:lnTo>
                    <a:pt x="366" y="525"/>
                  </a:lnTo>
                  <a:lnTo>
                    <a:pt x="363" y="521"/>
                  </a:lnTo>
                  <a:lnTo>
                    <a:pt x="362" y="516"/>
                  </a:lnTo>
                  <a:lnTo>
                    <a:pt x="363" y="512"/>
                  </a:lnTo>
                  <a:lnTo>
                    <a:pt x="366" y="507"/>
                  </a:lnTo>
                  <a:lnTo>
                    <a:pt x="370" y="505"/>
                  </a:lnTo>
                  <a:lnTo>
                    <a:pt x="374" y="504"/>
                  </a:lnTo>
                  <a:lnTo>
                    <a:pt x="616" y="504"/>
                  </a:lnTo>
                  <a:lnTo>
                    <a:pt x="621" y="505"/>
                  </a:lnTo>
                  <a:lnTo>
                    <a:pt x="625" y="507"/>
                  </a:lnTo>
                  <a:lnTo>
                    <a:pt x="627" y="512"/>
                  </a:lnTo>
                  <a:lnTo>
                    <a:pt x="628" y="516"/>
                  </a:lnTo>
                  <a:lnTo>
                    <a:pt x="627" y="521"/>
                  </a:lnTo>
                  <a:lnTo>
                    <a:pt x="625" y="525"/>
                  </a:lnTo>
                  <a:lnTo>
                    <a:pt x="621" y="527"/>
                  </a:lnTo>
                  <a:lnTo>
                    <a:pt x="616" y="528"/>
                  </a:lnTo>
                  <a:close/>
                  <a:moveTo>
                    <a:pt x="323" y="127"/>
                  </a:moveTo>
                  <a:lnTo>
                    <a:pt x="171" y="279"/>
                  </a:lnTo>
                  <a:lnTo>
                    <a:pt x="168" y="282"/>
                  </a:lnTo>
                  <a:lnTo>
                    <a:pt x="164" y="282"/>
                  </a:lnTo>
                  <a:lnTo>
                    <a:pt x="158" y="282"/>
                  </a:lnTo>
                  <a:lnTo>
                    <a:pt x="155" y="279"/>
                  </a:lnTo>
                  <a:lnTo>
                    <a:pt x="94" y="218"/>
                  </a:lnTo>
                  <a:lnTo>
                    <a:pt x="92" y="214"/>
                  </a:lnTo>
                  <a:lnTo>
                    <a:pt x="91" y="209"/>
                  </a:lnTo>
                  <a:lnTo>
                    <a:pt x="92" y="205"/>
                  </a:lnTo>
                  <a:lnTo>
                    <a:pt x="94" y="201"/>
                  </a:lnTo>
                  <a:lnTo>
                    <a:pt x="98" y="198"/>
                  </a:lnTo>
                  <a:lnTo>
                    <a:pt x="103" y="197"/>
                  </a:lnTo>
                  <a:lnTo>
                    <a:pt x="107" y="198"/>
                  </a:lnTo>
                  <a:lnTo>
                    <a:pt x="111" y="201"/>
                  </a:lnTo>
                  <a:lnTo>
                    <a:pt x="164" y="253"/>
                  </a:lnTo>
                  <a:lnTo>
                    <a:pt x="306" y="111"/>
                  </a:lnTo>
                  <a:lnTo>
                    <a:pt x="309" y="109"/>
                  </a:lnTo>
                  <a:lnTo>
                    <a:pt x="314" y="108"/>
                  </a:lnTo>
                  <a:lnTo>
                    <a:pt x="318" y="109"/>
                  </a:lnTo>
                  <a:lnTo>
                    <a:pt x="323" y="111"/>
                  </a:lnTo>
                  <a:lnTo>
                    <a:pt x="325" y="114"/>
                  </a:lnTo>
                  <a:lnTo>
                    <a:pt x="326" y="119"/>
                  </a:lnTo>
                  <a:lnTo>
                    <a:pt x="325" y="124"/>
                  </a:lnTo>
                  <a:lnTo>
                    <a:pt x="323" y="127"/>
                  </a:lnTo>
                  <a:close/>
                  <a:moveTo>
                    <a:pt x="323" y="414"/>
                  </a:moveTo>
                  <a:lnTo>
                    <a:pt x="171" y="565"/>
                  </a:lnTo>
                  <a:lnTo>
                    <a:pt x="168" y="568"/>
                  </a:lnTo>
                  <a:lnTo>
                    <a:pt x="164" y="569"/>
                  </a:lnTo>
                  <a:lnTo>
                    <a:pt x="158" y="568"/>
                  </a:lnTo>
                  <a:lnTo>
                    <a:pt x="155" y="565"/>
                  </a:lnTo>
                  <a:lnTo>
                    <a:pt x="94" y="505"/>
                  </a:lnTo>
                  <a:lnTo>
                    <a:pt x="92" y="502"/>
                  </a:lnTo>
                  <a:lnTo>
                    <a:pt x="91" y="497"/>
                  </a:lnTo>
                  <a:lnTo>
                    <a:pt x="92" y="493"/>
                  </a:lnTo>
                  <a:lnTo>
                    <a:pt x="94" y="488"/>
                  </a:lnTo>
                  <a:lnTo>
                    <a:pt x="98" y="486"/>
                  </a:lnTo>
                  <a:lnTo>
                    <a:pt x="103" y="485"/>
                  </a:lnTo>
                  <a:lnTo>
                    <a:pt x="107" y="486"/>
                  </a:lnTo>
                  <a:lnTo>
                    <a:pt x="111" y="488"/>
                  </a:lnTo>
                  <a:lnTo>
                    <a:pt x="164" y="540"/>
                  </a:lnTo>
                  <a:lnTo>
                    <a:pt x="306" y="397"/>
                  </a:lnTo>
                  <a:lnTo>
                    <a:pt x="309" y="395"/>
                  </a:lnTo>
                  <a:lnTo>
                    <a:pt x="314" y="394"/>
                  </a:lnTo>
                  <a:lnTo>
                    <a:pt x="318" y="395"/>
                  </a:lnTo>
                  <a:lnTo>
                    <a:pt x="323" y="398"/>
                  </a:lnTo>
                  <a:lnTo>
                    <a:pt x="325" y="401"/>
                  </a:lnTo>
                  <a:lnTo>
                    <a:pt x="326" y="406"/>
                  </a:lnTo>
                  <a:lnTo>
                    <a:pt x="325" y="410"/>
                  </a:lnTo>
                  <a:lnTo>
                    <a:pt x="323" y="414"/>
                  </a:lnTo>
                  <a:close/>
                  <a:moveTo>
                    <a:pt x="707" y="0"/>
                  </a:moveTo>
                  <a:lnTo>
                    <a:pt x="12" y="0"/>
                  </a:lnTo>
                  <a:lnTo>
                    <a:pt x="8" y="2"/>
                  </a:lnTo>
                  <a:lnTo>
                    <a:pt x="3" y="5"/>
                  </a:lnTo>
                  <a:lnTo>
                    <a:pt x="1" y="8"/>
                  </a:lnTo>
                  <a:lnTo>
                    <a:pt x="0" y="13"/>
                  </a:lnTo>
                  <a:lnTo>
                    <a:pt x="0" y="707"/>
                  </a:lnTo>
                  <a:lnTo>
                    <a:pt x="1" y="713"/>
                  </a:lnTo>
                  <a:lnTo>
                    <a:pt x="3" y="716"/>
                  </a:lnTo>
                  <a:lnTo>
                    <a:pt x="8" y="719"/>
                  </a:lnTo>
                  <a:lnTo>
                    <a:pt x="12" y="719"/>
                  </a:lnTo>
                  <a:lnTo>
                    <a:pt x="707" y="719"/>
                  </a:lnTo>
                  <a:lnTo>
                    <a:pt x="711" y="719"/>
                  </a:lnTo>
                  <a:lnTo>
                    <a:pt x="716" y="716"/>
                  </a:lnTo>
                  <a:lnTo>
                    <a:pt x="718" y="713"/>
                  </a:lnTo>
                  <a:lnTo>
                    <a:pt x="719" y="707"/>
                  </a:lnTo>
                  <a:lnTo>
                    <a:pt x="719" y="13"/>
                  </a:lnTo>
                  <a:lnTo>
                    <a:pt x="718" y="8"/>
                  </a:lnTo>
                  <a:lnTo>
                    <a:pt x="716" y="5"/>
                  </a:lnTo>
                  <a:lnTo>
                    <a:pt x="711" y="2"/>
                  </a:lnTo>
                  <a:lnTo>
                    <a:pt x="707"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b="1"/>
            </a:p>
          </p:txBody>
        </p:sp>
      </p:grpSp>
      <p:sp>
        <p:nvSpPr>
          <p:cNvPr id="28" name="Rectangle 27">
            <a:extLst>
              <a:ext uri="{FF2B5EF4-FFF2-40B4-BE49-F238E27FC236}">
                <a16:creationId xmlns:a16="http://schemas.microsoft.com/office/drawing/2014/main" id="{B193A39B-8E2C-4D91-94F8-99E2573FF0D1}"/>
              </a:ext>
            </a:extLst>
          </p:cNvPr>
          <p:cNvSpPr/>
          <p:nvPr/>
        </p:nvSpPr>
        <p:spPr>
          <a:xfrm>
            <a:off x="3078480" y="3745043"/>
            <a:ext cx="1805305" cy="612925"/>
          </a:xfrm>
          <a:prstGeom prst="rect">
            <a:avLst/>
          </a:prstGeom>
        </p:spPr>
        <p:txBody>
          <a:bodyPr wrap="square" lIns="0" tIns="0" rIns="0" bIns="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42900" indent="-342900">
              <a:lnSpc>
                <a:spcPct val="150000"/>
              </a:lnSpc>
              <a:buAutoNum type="arabicPeriod"/>
            </a:pPr>
            <a:endParaRPr lang="en-US" sz="1400">
              <a:solidFill>
                <a:schemeClr val="bg1"/>
              </a:solidFill>
              <a:cs typeface="Segoe UI" panose="020B0502040204020203" pitchFamily="34" charset="0"/>
            </a:endParaRPr>
          </a:p>
          <a:p>
            <a:pPr marL="342900" indent="-342900">
              <a:lnSpc>
                <a:spcPct val="150000"/>
              </a:lnSpc>
              <a:buAutoNum type="arabicPeriod"/>
            </a:pPr>
            <a:endParaRPr lang="en-US" sz="1400">
              <a:solidFill>
                <a:schemeClr val="bg1"/>
              </a:solidFill>
              <a:cs typeface="Segoe UI" panose="020B0502040204020203" pitchFamily="34" charset="0"/>
            </a:endParaRPr>
          </a:p>
        </p:txBody>
      </p:sp>
      <p:grpSp>
        <p:nvGrpSpPr>
          <p:cNvPr id="11" name="Group 10">
            <a:extLst>
              <a:ext uri="{FF2B5EF4-FFF2-40B4-BE49-F238E27FC236}">
                <a16:creationId xmlns:a16="http://schemas.microsoft.com/office/drawing/2014/main" id="{8ABE68E6-9629-488C-B73D-9F9635F7339B}"/>
              </a:ext>
            </a:extLst>
          </p:cNvPr>
          <p:cNvGrpSpPr/>
          <p:nvPr/>
        </p:nvGrpSpPr>
        <p:grpSpPr>
          <a:xfrm>
            <a:off x="4975958" y="1355491"/>
            <a:ext cx="2044685" cy="4663440"/>
            <a:chOff x="7270936" y="1355491"/>
            <a:chExt cx="2044685" cy="4663440"/>
          </a:xfrm>
        </p:grpSpPr>
        <p:sp>
          <p:nvSpPr>
            <p:cNvPr id="17" name="Trapezoid 16">
              <a:extLst>
                <a:ext uri="{FF2B5EF4-FFF2-40B4-BE49-F238E27FC236}">
                  <a16:creationId xmlns:a16="http://schemas.microsoft.com/office/drawing/2014/main" id="{C49F0791-195F-4F34-BA1C-F517B609B6FF}"/>
                </a:ext>
                <a:ext uri="{C183D7F6-B498-43B3-948B-1728B52AA6E4}">
                  <adec:decorative xmlns:adec="http://schemas.microsoft.com/office/drawing/2017/decorative" val="1"/>
                </a:ext>
              </a:extLst>
            </p:cNvPr>
            <p:cNvSpPr/>
            <p:nvPr/>
          </p:nvSpPr>
          <p:spPr>
            <a:xfrm rot="5400000">
              <a:off x="5961559" y="2664868"/>
              <a:ext cx="4663440" cy="2044685"/>
            </a:xfrm>
            <a:prstGeom prst="trapezoid">
              <a:avLst/>
            </a:prstGeom>
            <a:solidFill>
              <a:srgbClr val="1653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81" name="Rectangle 80">
              <a:extLst>
                <a:ext uri="{FF2B5EF4-FFF2-40B4-BE49-F238E27FC236}">
                  <a16:creationId xmlns:a16="http://schemas.microsoft.com/office/drawing/2014/main" id="{2BBCE0AA-FE79-4D49-8254-56DEEE1F089C}"/>
                </a:ext>
              </a:extLst>
            </p:cNvPr>
            <p:cNvSpPr/>
            <p:nvPr/>
          </p:nvSpPr>
          <p:spPr>
            <a:xfrm>
              <a:off x="7489868" y="4490752"/>
              <a:ext cx="1508760" cy="553998"/>
            </a:xfrm>
            <a:prstGeom prst="rect">
              <a:avLst/>
            </a:prstGeom>
          </p:spPr>
          <p:txBody>
            <a:bodyPr wrap="square" lIns="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1">
                  <a:solidFill>
                    <a:schemeClr val="bg1"/>
                  </a:solidFill>
                  <a:latin typeface="Book Antiqua" panose="02040602050305030304" pitchFamily="18" charset="0"/>
                </a:rPr>
                <a:t>Modeling and Results</a:t>
              </a:r>
            </a:p>
          </p:txBody>
        </p:sp>
        <p:sp>
          <p:nvSpPr>
            <p:cNvPr id="82" name="Freeform 4665" descr="Icon of graph. ">
              <a:extLst>
                <a:ext uri="{FF2B5EF4-FFF2-40B4-BE49-F238E27FC236}">
                  <a16:creationId xmlns:a16="http://schemas.microsoft.com/office/drawing/2014/main" id="{1CB940F8-F7E6-4A50-BBC0-19E324452334}"/>
                </a:ext>
              </a:extLst>
            </p:cNvPr>
            <p:cNvSpPr>
              <a:spLocks/>
            </p:cNvSpPr>
            <p:nvPr/>
          </p:nvSpPr>
          <p:spPr bwMode="auto">
            <a:xfrm>
              <a:off x="7715846" y="2842273"/>
              <a:ext cx="1371600" cy="1371600"/>
            </a:xfrm>
            <a:custGeom>
              <a:avLst/>
              <a:gdLst>
                <a:gd name="T0" fmla="*/ 761 w 904"/>
                <a:gd name="T1" fmla="*/ 213 h 903"/>
                <a:gd name="T2" fmla="*/ 754 w 904"/>
                <a:gd name="T3" fmla="*/ 225 h 903"/>
                <a:gd name="T4" fmla="*/ 576 w 904"/>
                <a:gd name="T5" fmla="*/ 277 h 903"/>
                <a:gd name="T6" fmla="*/ 498 w 904"/>
                <a:gd name="T7" fmla="*/ 298 h 903"/>
                <a:gd name="T8" fmla="*/ 431 w 904"/>
                <a:gd name="T9" fmla="*/ 329 h 903"/>
                <a:gd name="T10" fmla="*/ 578 w 904"/>
                <a:gd name="T11" fmla="*/ 170 h 903"/>
                <a:gd name="T12" fmla="*/ 618 w 904"/>
                <a:gd name="T13" fmla="*/ 180 h 903"/>
                <a:gd name="T14" fmla="*/ 661 w 904"/>
                <a:gd name="T15" fmla="*/ 169 h 903"/>
                <a:gd name="T16" fmla="*/ 693 w 904"/>
                <a:gd name="T17" fmla="*/ 141 h 903"/>
                <a:gd name="T18" fmla="*/ 707 w 904"/>
                <a:gd name="T19" fmla="*/ 99 h 903"/>
                <a:gd name="T20" fmla="*/ 701 w 904"/>
                <a:gd name="T21" fmla="*/ 55 h 903"/>
                <a:gd name="T22" fmla="*/ 676 w 904"/>
                <a:gd name="T23" fmla="*/ 20 h 903"/>
                <a:gd name="T24" fmla="*/ 636 w 904"/>
                <a:gd name="T25" fmla="*/ 2 h 903"/>
                <a:gd name="T26" fmla="*/ 591 w 904"/>
                <a:gd name="T27" fmla="*/ 4 h 903"/>
                <a:gd name="T28" fmla="*/ 554 w 904"/>
                <a:gd name="T29" fmla="*/ 25 h 903"/>
                <a:gd name="T30" fmla="*/ 531 w 904"/>
                <a:gd name="T31" fmla="*/ 63 h 903"/>
                <a:gd name="T32" fmla="*/ 532 w 904"/>
                <a:gd name="T33" fmla="*/ 118 h 903"/>
                <a:gd name="T34" fmla="*/ 369 w 904"/>
                <a:gd name="T35" fmla="*/ 289 h 903"/>
                <a:gd name="T36" fmla="*/ 325 w 904"/>
                <a:gd name="T37" fmla="*/ 289 h 903"/>
                <a:gd name="T38" fmla="*/ 294 w 904"/>
                <a:gd name="T39" fmla="*/ 308 h 903"/>
                <a:gd name="T40" fmla="*/ 275 w 904"/>
                <a:gd name="T41" fmla="*/ 338 h 903"/>
                <a:gd name="T42" fmla="*/ 275 w 904"/>
                <a:gd name="T43" fmla="*/ 383 h 903"/>
                <a:gd name="T44" fmla="*/ 113 w 904"/>
                <a:gd name="T45" fmla="*/ 545 h 903"/>
                <a:gd name="T46" fmla="*/ 64 w 904"/>
                <a:gd name="T47" fmla="*/ 546 h 903"/>
                <a:gd name="T48" fmla="*/ 26 w 904"/>
                <a:gd name="T49" fmla="*/ 568 h 903"/>
                <a:gd name="T50" fmla="*/ 5 w 904"/>
                <a:gd name="T51" fmla="*/ 605 h 903"/>
                <a:gd name="T52" fmla="*/ 3 w 904"/>
                <a:gd name="T53" fmla="*/ 650 h 903"/>
                <a:gd name="T54" fmla="*/ 21 w 904"/>
                <a:gd name="T55" fmla="*/ 690 h 903"/>
                <a:gd name="T56" fmla="*/ 56 w 904"/>
                <a:gd name="T57" fmla="*/ 716 h 903"/>
                <a:gd name="T58" fmla="*/ 100 w 904"/>
                <a:gd name="T59" fmla="*/ 722 h 903"/>
                <a:gd name="T60" fmla="*/ 142 w 904"/>
                <a:gd name="T61" fmla="*/ 706 h 903"/>
                <a:gd name="T62" fmla="*/ 170 w 904"/>
                <a:gd name="T63" fmla="*/ 675 h 903"/>
                <a:gd name="T64" fmla="*/ 181 w 904"/>
                <a:gd name="T65" fmla="*/ 632 h 903"/>
                <a:gd name="T66" fmla="*/ 171 w 904"/>
                <a:gd name="T67" fmla="*/ 591 h 903"/>
                <a:gd name="T68" fmla="*/ 316 w 904"/>
                <a:gd name="T69" fmla="*/ 430 h 903"/>
                <a:gd name="T70" fmla="*/ 286 w 904"/>
                <a:gd name="T71" fmla="*/ 538 h 903"/>
                <a:gd name="T72" fmla="*/ 271 w 904"/>
                <a:gd name="T73" fmla="*/ 753 h 903"/>
                <a:gd name="T74" fmla="*/ 216 w 904"/>
                <a:gd name="T75" fmla="*/ 757 h 903"/>
                <a:gd name="T76" fmla="*/ 212 w 904"/>
                <a:gd name="T77" fmla="*/ 888 h 903"/>
                <a:gd name="T78" fmla="*/ 218 w 904"/>
                <a:gd name="T79" fmla="*/ 901 h 903"/>
                <a:gd name="T80" fmla="*/ 349 w 904"/>
                <a:gd name="T81" fmla="*/ 903 h 903"/>
                <a:gd name="T82" fmla="*/ 361 w 904"/>
                <a:gd name="T83" fmla="*/ 894 h 903"/>
                <a:gd name="T84" fmla="*/ 361 w 904"/>
                <a:gd name="T85" fmla="*/ 762 h 903"/>
                <a:gd name="T86" fmla="*/ 349 w 904"/>
                <a:gd name="T87" fmla="*/ 753 h 903"/>
                <a:gd name="T88" fmla="*/ 305 w 904"/>
                <a:gd name="T89" fmla="*/ 597 h 903"/>
                <a:gd name="T90" fmla="*/ 343 w 904"/>
                <a:gd name="T91" fmla="*/ 469 h 903"/>
                <a:gd name="T92" fmla="*/ 383 w 904"/>
                <a:gd name="T93" fmla="*/ 426 h 903"/>
                <a:gd name="T94" fmla="*/ 418 w 904"/>
                <a:gd name="T95" fmla="*/ 383 h 903"/>
                <a:gd name="T96" fmla="*/ 471 w 904"/>
                <a:gd name="T97" fmla="*/ 342 h 903"/>
                <a:gd name="T98" fmla="*/ 544 w 904"/>
                <a:gd name="T99" fmla="*/ 315 h 903"/>
                <a:gd name="T100" fmla="*/ 627 w 904"/>
                <a:gd name="T101" fmla="*/ 302 h 903"/>
                <a:gd name="T102" fmla="*/ 754 w 904"/>
                <a:gd name="T103" fmla="*/ 348 h 903"/>
                <a:gd name="T104" fmla="*/ 763 w 904"/>
                <a:gd name="T105" fmla="*/ 360 h 903"/>
                <a:gd name="T106" fmla="*/ 895 w 904"/>
                <a:gd name="T107" fmla="*/ 360 h 903"/>
                <a:gd name="T108" fmla="*/ 904 w 904"/>
                <a:gd name="T109" fmla="*/ 348 h 903"/>
                <a:gd name="T110" fmla="*/ 902 w 904"/>
                <a:gd name="T111" fmla="*/ 217 h 903"/>
                <a:gd name="T112" fmla="*/ 889 w 904"/>
                <a:gd name="T113" fmla="*/ 211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04" h="903">
                  <a:moveTo>
                    <a:pt x="889" y="211"/>
                  </a:moveTo>
                  <a:lnTo>
                    <a:pt x="768" y="211"/>
                  </a:lnTo>
                  <a:lnTo>
                    <a:pt x="765" y="211"/>
                  </a:lnTo>
                  <a:lnTo>
                    <a:pt x="763" y="212"/>
                  </a:lnTo>
                  <a:lnTo>
                    <a:pt x="761" y="213"/>
                  </a:lnTo>
                  <a:lnTo>
                    <a:pt x="758" y="215"/>
                  </a:lnTo>
                  <a:lnTo>
                    <a:pt x="756" y="217"/>
                  </a:lnTo>
                  <a:lnTo>
                    <a:pt x="755" y="220"/>
                  </a:lnTo>
                  <a:lnTo>
                    <a:pt x="754" y="222"/>
                  </a:lnTo>
                  <a:lnTo>
                    <a:pt x="754" y="225"/>
                  </a:lnTo>
                  <a:lnTo>
                    <a:pt x="754" y="271"/>
                  </a:lnTo>
                  <a:lnTo>
                    <a:pt x="663" y="271"/>
                  </a:lnTo>
                  <a:lnTo>
                    <a:pt x="627" y="272"/>
                  </a:lnTo>
                  <a:lnTo>
                    <a:pt x="593" y="275"/>
                  </a:lnTo>
                  <a:lnTo>
                    <a:pt x="576" y="277"/>
                  </a:lnTo>
                  <a:lnTo>
                    <a:pt x="561" y="281"/>
                  </a:lnTo>
                  <a:lnTo>
                    <a:pt x="545" y="284"/>
                  </a:lnTo>
                  <a:lnTo>
                    <a:pt x="529" y="287"/>
                  </a:lnTo>
                  <a:lnTo>
                    <a:pt x="513" y="292"/>
                  </a:lnTo>
                  <a:lnTo>
                    <a:pt x="498" y="298"/>
                  </a:lnTo>
                  <a:lnTo>
                    <a:pt x="484" y="302"/>
                  </a:lnTo>
                  <a:lnTo>
                    <a:pt x="470" y="309"/>
                  </a:lnTo>
                  <a:lnTo>
                    <a:pt x="457" y="315"/>
                  </a:lnTo>
                  <a:lnTo>
                    <a:pt x="443" y="323"/>
                  </a:lnTo>
                  <a:lnTo>
                    <a:pt x="431" y="329"/>
                  </a:lnTo>
                  <a:lnTo>
                    <a:pt x="418" y="337"/>
                  </a:lnTo>
                  <a:lnTo>
                    <a:pt x="415" y="328"/>
                  </a:lnTo>
                  <a:lnTo>
                    <a:pt x="409" y="319"/>
                  </a:lnTo>
                  <a:lnTo>
                    <a:pt x="565" y="163"/>
                  </a:lnTo>
                  <a:lnTo>
                    <a:pt x="578" y="170"/>
                  </a:lnTo>
                  <a:lnTo>
                    <a:pt x="590" y="176"/>
                  </a:lnTo>
                  <a:lnTo>
                    <a:pt x="597" y="178"/>
                  </a:lnTo>
                  <a:lnTo>
                    <a:pt x="604" y="179"/>
                  </a:lnTo>
                  <a:lnTo>
                    <a:pt x="610" y="180"/>
                  </a:lnTo>
                  <a:lnTo>
                    <a:pt x="618" y="180"/>
                  </a:lnTo>
                  <a:lnTo>
                    <a:pt x="627" y="180"/>
                  </a:lnTo>
                  <a:lnTo>
                    <a:pt x="636" y="178"/>
                  </a:lnTo>
                  <a:lnTo>
                    <a:pt x="644" y="176"/>
                  </a:lnTo>
                  <a:lnTo>
                    <a:pt x="653" y="173"/>
                  </a:lnTo>
                  <a:lnTo>
                    <a:pt x="661" y="169"/>
                  </a:lnTo>
                  <a:lnTo>
                    <a:pt x="668" y="164"/>
                  </a:lnTo>
                  <a:lnTo>
                    <a:pt x="676" y="160"/>
                  </a:lnTo>
                  <a:lnTo>
                    <a:pt x="681" y="154"/>
                  </a:lnTo>
                  <a:lnTo>
                    <a:pt x="687" y="147"/>
                  </a:lnTo>
                  <a:lnTo>
                    <a:pt x="693" y="141"/>
                  </a:lnTo>
                  <a:lnTo>
                    <a:pt x="697" y="133"/>
                  </a:lnTo>
                  <a:lnTo>
                    <a:pt x="701" y="125"/>
                  </a:lnTo>
                  <a:lnTo>
                    <a:pt x="704" y="117"/>
                  </a:lnTo>
                  <a:lnTo>
                    <a:pt x="706" y="108"/>
                  </a:lnTo>
                  <a:lnTo>
                    <a:pt x="707" y="99"/>
                  </a:lnTo>
                  <a:lnTo>
                    <a:pt x="709" y="90"/>
                  </a:lnTo>
                  <a:lnTo>
                    <a:pt x="707" y="81"/>
                  </a:lnTo>
                  <a:lnTo>
                    <a:pt x="706" y="72"/>
                  </a:lnTo>
                  <a:lnTo>
                    <a:pt x="704" y="63"/>
                  </a:lnTo>
                  <a:lnTo>
                    <a:pt x="701" y="55"/>
                  </a:lnTo>
                  <a:lnTo>
                    <a:pt x="697" y="47"/>
                  </a:lnTo>
                  <a:lnTo>
                    <a:pt x="693" y="39"/>
                  </a:lnTo>
                  <a:lnTo>
                    <a:pt x="687" y="32"/>
                  </a:lnTo>
                  <a:lnTo>
                    <a:pt x="681" y="25"/>
                  </a:lnTo>
                  <a:lnTo>
                    <a:pt x="676" y="20"/>
                  </a:lnTo>
                  <a:lnTo>
                    <a:pt x="668" y="15"/>
                  </a:lnTo>
                  <a:lnTo>
                    <a:pt x="661" y="11"/>
                  </a:lnTo>
                  <a:lnTo>
                    <a:pt x="653" y="6"/>
                  </a:lnTo>
                  <a:lnTo>
                    <a:pt x="644" y="4"/>
                  </a:lnTo>
                  <a:lnTo>
                    <a:pt x="636" y="2"/>
                  </a:lnTo>
                  <a:lnTo>
                    <a:pt x="627" y="0"/>
                  </a:lnTo>
                  <a:lnTo>
                    <a:pt x="618" y="0"/>
                  </a:lnTo>
                  <a:lnTo>
                    <a:pt x="609" y="0"/>
                  </a:lnTo>
                  <a:lnTo>
                    <a:pt x="600" y="2"/>
                  </a:lnTo>
                  <a:lnTo>
                    <a:pt x="591" y="4"/>
                  </a:lnTo>
                  <a:lnTo>
                    <a:pt x="583" y="6"/>
                  </a:lnTo>
                  <a:lnTo>
                    <a:pt x="575" y="11"/>
                  </a:lnTo>
                  <a:lnTo>
                    <a:pt x="567" y="15"/>
                  </a:lnTo>
                  <a:lnTo>
                    <a:pt x="561" y="20"/>
                  </a:lnTo>
                  <a:lnTo>
                    <a:pt x="554" y="25"/>
                  </a:lnTo>
                  <a:lnTo>
                    <a:pt x="548" y="32"/>
                  </a:lnTo>
                  <a:lnTo>
                    <a:pt x="543" y="39"/>
                  </a:lnTo>
                  <a:lnTo>
                    <a:pt x="538" y="47"/>
                  </a:lnTo>
                  <a:lnTo>
                    <a:pt x="535" y="55"/>
                  </a:lnTo>
                  <a:lnTo>
                    <a:pt x="531" y="63"/>
                  </a:lnTo>
                  <a:lnTo>
                    <a:pt x="529" y="72"/>
                  </a:lnTo>
                  <a:lnTo>
                    <a:pt x="528" y="81"/>
                  </a:lnTo>
                  <a:lnTo>
                    <a:pt x="528" y="90"/>
                  </a:lnTo>
                  <a:lnTo>
                    <a:pt x="529" y="105"/>
                  </a:lnTo>
                  <a:lnTo>
                    <a:pt x="532" y="118"/>
                  </a:lnTo>
                  <a:lnTo>
                    <a:pt x="537" y="131"/>
                  </a:lnTo>
                  <a:lnTo>
                    <a:pt x="545" y="142"/>
                  </a:lnTo>
                  <a:lnTo>
                    <a:pt x="388" y="298"/>
                  </a:lnTo>
                  <a:lnTo>
                    <a:pt x="379" y="293"/>
                  </a:lnTo>
                  <a:lnTo>
                    <a:pt x="369" y="289"/>
                  </a:lnTo>
                  <a:lnTo>
                    <a:pt x="358" y="286"/>
                  </a:lnTo>
                  <a:lnTo>
                    <a:pt x="347" y="285"/>
                  </a:lnTo>
                  <a:lnTo>
                    <a:pt x="339" y="286"/>
                  </a:lnTo>
                  <a:lnTo>
                    <a:pt x="331" y="287"/>
                  </a:lnTo>
                  <a:lnTo>
                    <a:pt x="325" y="289"/>
                  </a:lnTo>
                  <a:lnTo>
                    <a:pt x="318" y="292"/>
                  </a:lnTo>
                  <a:lnTo>
                    <a:pt x="311" y="294"/>
                  </a:lnTo>
                  <a:lnTo>
                    <a:pt x="304" y="299"/>
                  </a:lnTo>
                  <a:lnTo>
                    <a:pt x="299" y="303"/>
                  </a:lnTo>
                  <a:lnTo>
                    <a:pt x="294" y="308"/>
                  </a:lnTo>
                  <a:lnTo>
                    <a:pt x="288" y="313"/>
                  </a:lnTo>
                  <a:lnTo>
                    <a:pt x="284" y="319"/>
                  </a:lnTo>
                  <a:lnTo>
                    <a:pt x="281" y="325"/>
                  </a:lnTo>
                  <a:lnTo>
                    <a:pt x="277" y="332"/>
                  </a:lnTo>
                  <a:lnTo>
                    <a:pt x="275" y="338"/>
                  </a:lnTo>
                  <a:lnTo>
                    <a:pt x="273" y="346"/>
                  </a:lnTo>
                  <a:lnTo>
                    <a:pt x="271" y="353"/>
                  </a:lnTo>
                  <a:lnTo>
                    <a:pt x="271" y="361"/>
                  </a:lnTo>
                  <a:lnTo>
                    <a:pt x="273" y="372"/>
                  </a:lnTo>
                  <a:lnTo>
                    <a:pt x="275" y="383"/>
                  </a:lnTo>
                  <a:lnTo>
                    <a:pt x="278" y="393"/>
                  </a:lnTo>
                  <a:lnTo>
                    <a:pt x="284" y="403"/>
                  </a:lnTo>
                  <a:lnTo>
                    <a:pt x="134" y="553"/>
                  </a:lnTo>
                  <a:lnTo>
                    <a:pt x="124" y="547"/>
                  </a:lnTo>
                  <a:lnTo>
                    <a:pt x="113" y="545"/>
                  </a:lnTo>
                  <a:lnTo>
                    <a:pt x="102" y="543"/>
                  </a:lnTo>
                  <a:lnTo>
                    <a:pt x="91" y="542"/>
                  </a:lnTo>
                  <a:lnTo>
                    <a:pt x="82" y="542"/>
                  </a:lnTo>
                  <a:lnTo>
                    <a:pt x="73" y="544"/>
                  </a:lnTo>
                  <a:lnTo>
                    <a:pt x="64" y="546"/>
                  </a:lnTo>
                  <a:lnTo>
                    <a:pt x="56" y="548"/>
                  </a:lnTo>
                  <a:lnTo>
                    <a:pt x="48" y="553"/>
                  </a:lnTo>
                  <a:lnTo>
                    <a:pt x="40" y="557"/>
                  </a:lnTo>
                  <a:lnTo>
                    <a:pt x="33" y="562"/>
                  </a:lnTo>
                  <a:lnTo>
                    <a:pt x="26" y="568"/>
                  </a:lnTo>
                  <a:lnTo>
                    <a:pt x="21" y="574"/>
                  </a:lnTo>
                  <a:lnTo>
                    <a:pt x="16" y="581"/>
                  </a:lnTo>
                  <a:lnTo>
                    <a:pt x="12" y="589"/>
                  </a:lnTo>
                  <a:lnTo>
                    <a:pt x="7" y="597"/>
                  </a:lnTo>
                  <a:lnTo>
                    <a:pt x="5" y="605"/>
                  </a:lnTo>
                  <a:lnTo>
                    <a:pt x="3" y="614"/>
                  </a:lnTo>
                  <a:lnTo>
                    <a:pt x="0" y="623"/>
                  </a:lnTo>
                  <a:lnTo>
                    <a:pt x="0" y="632"/>
                  </a:lnTo>
                  <a:lnTo>
                    <a:pt x="0" y="641"/>
                  </a:lnTo>
                  <a:lnTo>
                    <a:pt x="3" y="650"/>
                  </a:lnTo>
                  <a:lnTo>
                    <a:pt x="5" y="659"/>
                  </a:lnTo>
                  <a:lnTo>
                    <a:pt x="7" y="667"/>
                  </a:lnTo>
                  <a:lnTo>
                    <a:pt x="12" y="675"/>
                  </a:lnTo>
                  <a:lnTo>
                    <a:pt x="16" y="683"/>
                  </a:lnTo>
                  <a:lnTo>
                    <a:pt x="21" y="690"/>
                  </a:lnTo>
                  <a:lnTo>
                    <a:pt x="26" y="696"/>
                  </a:lnTo>
                  <a:lnTo>
                    <a:pt x="33" y="702"/>
                  </a:lnTo>
                  <a:lnTo>
                    <a:pt x="40" y="706"/>
                  </a:lnTo>
                  <a:lnTo>
                    <a:pt x="48" y="711"/>
                  </a:lnTo>
                  <a:lnTo>
                    <a:pt x="56" y="716"/>
                  </a:lnTo>
                  <a:lnTo>
                    <a:pt x="64" y="718"/>
                  </a:lnTo>
                  <a:lnTo>
                    <a:pt x="73" y="720"/>
                  </a:lnTo>
                  <a:lnTo>
                    <a:pt x="82" y="722"/>
                  </a:lnTo>
                  <a:lnTo>
                    <a:pt x="91" y="722"/>
                  </a:lnTo>
                  <a:lnTo>
                    <a:pt x="100" y="722"/>
                  </a:lnTo>
                  <a:lnTo>
                    <a:pt x="109" y="720"/>
                  </a:lnTo>
                  <a:lnTo>
                    <a:pt x="118" y="718"/>
                  </a:lnTo>
                  <a:lnTo>
                    <a:pt x="126" y="716"/>
                  </a:lnTo>
                  <a:lnTo>
                    <a:pt x="134" y="711"/>
                  </a:lnTo>
                  <a:lnTo>
                    <a:pt x="142" y="706"/>
                  </a:lnTo>
                  <a:lnTo>
                    <a:pt x="148" y="702"/>
                  </a:lnTo>
                  <a:lnTo>
                    <a:pt x="155" y="696"/>
                  </a:lnTo>
                  <a:lnTo>
                    <a:pt x="161" y="690"/>
                  </a:lnTo>
                  <a:lnTo>
                    <a:pt x="165" y="683"/>
                  </a:lnTo>
                  <a:lnTo>
                    <a:pt x="170" y="675"/>
                  </a:lnTo>
                  <a:lnTo>
                    <a:pt x="174" y="667"/>
                  </a:lnTo>
                  <a:lnTo>
                    <a:pt x="177" y="659"/>
                  </a:lnTo>
                  <a:lnTo>
                    <a:pt x="179" y="650"/>
                  </a:lnTo>
                  <a:lnTo>
                    <a:pt x="181" y="641"/>
                  </a:lnTo>
                  <a:lnTo>
                    <a:pt x="181" y="632"/>
                  </a:lnTo>
                  <a:lnTo>
                    <a:pt x="181" y="623"/>
                  </a:lnTo>
                  <a:lnTo>
                    <a:pt x="180" y="615"/>
                  </a:lnTo>
                  <a:lnTo>
                    <a:pt x="178" y="607"/>
                  </a:lnTo>
                  <a:lnTo>
                    <a:pt x="174" y="599"/>
                  </a:lnTo>
                  <a:lnTo>
                    <a:pt x="171" y="591"/>
                  </a:lnTo>
                  <a:lnTo>
                    <a:pt x="168" y="585"/>
                  </a:lnTo>
                  <a:lnTo>
                    <a:pt x="163" y="578"/>
                  </a:lnTo>
                  <a:lnTo>
                    <a:pt x="157" y="571"/>
                  </a:lnTo>
                  <a:lnTo>
                    <a:pt x="305" y="424"/>
                  </a:lnTo>
                  <a:lnTo>
                    <a:pt x="316" y="430"/>
                  </a:lnTo>
                  <a:lnTo>
                    <a:pt x="328" y="433"/>
                  </a:lnTo>
                  <a:lnTo>
                    <a:pt x="314" y="457"/>
                  </a:lnTo>
                  <a:lnTo>
                    <a:pt x="303" y="483"/>
                  </a:lnTo>
                  <a:lnTo>
                    <a:pt x="294" y="510"/>
                  </a:lnTo>
                  <a:lnTo>
                    <a:pt x="286" y="538"/>
                  </a:lnTo>
                  <a:lnTo>
                    <a:pt x="279" y="568"/>
                  </a:lnTo>
                  <a:lnTo>
                    <a:pt x="275" y="598"/>
                  </a:lnTo>
                  <a:lnTo>
                    <a:pt x="273" y="630"/>
                  </a:lnTo>
                  <a:lnTo>
                    <a:pt x="271" y="662"/>
                  </a:lnTo>
                  <a:lnTo>
                    <a:pt x="271" y="753"/>
                  </a:lnTo>
                  <a:lnTo>
                    <a:pt x="226" y="753"/>
                  </a:lnTo>
                  <a:lnTo>
                    <a:pt x="223" y="753"/>
                  </a:lnTo>
                  <a:lnTo>
                    <a:pt x="221" y="754"/>
                  </a:lnTo>
                  <a:lnTo>
                    <a:pt x="218" y="755"/>
                  </a:lnTo>
                  <a:lnTo>
                    <a:pt x="216" y="757"/>
                  </a:lnTo>
                  <a:lnTo>
                    <a:pt x="214" y="760"/>
                  </a:lnTo>
                  <a:lnTo>
                    <a:pt x="213" y="762"/>
                  </a:lnTo>
                  <a:lnTo>
                    <a:pt x="212" y="764"/>
                  </a:lnTo>
                  <a:lnTo>
                    <a:pt x="212" y="767"/>
                  </a:lnTo>
                  <a:lnTo>
                    <a:pt x="212" y="888"/>
                  </a:lnTo>
                  <a:lnTo>
                    <a:pt x="212" y="891"/>
                  </a:lnTo>
                  <a:lnTo>
                    <a:pt x="213" y="894"/>
                  </a:lnTo>
                  <a:lnTo>
                    <a:pt x="214" y="896"/>
                  </a:lnTo>
                  <a:lnTo>
                    <a:pt x="216" y="898"/>
                  </a:lnTo>
                  <a:lnTo>
                    <a:pt x="218" y="901"/>
                  </a:lnTo>
                  <a:lnTo>
                    <a:pt x="221" y="902"/>
                  </a:lnTo>
                  <a:lnTo>
                    <a:pt x="223" y="903"/>
                  </a:lnTo>
                  <a:lnTo>
                    <a:pt x="226" y="903"/>
                  </a:lnTo>
                  <a:lnTo>
                    <a:pt x="347" y="903"/>
                  </a:lnTo>
                  <a:lnTo>
                    <a:pt x="349" y="903"/>
                  </a:lnTo>
                  <a:lnTo>
                    <a:pt x="353" y="902"/>
                  </a:lnTo>
                  <a:lnTo>
                    <a:pt x="355" y="901"/>
                  </a:lnTo>
                  <a:lnTo>
                    <a:pt x="357" y="898"/>
                  </a:lnTo>
                  <a:lnTo>
                    <a:pt x="360" y="896"/>
                  </a:lnTo>
                  <a:lnTo>
                    <a:pt x="361" y="894"/>
                  </a:lnTo>
                  <a:lnTo>
                    <a:pt x="362" y="891"/>
                  </a:lnTo>
                  <a:lnTo>
                    <a:pt x="362" y="888"/>
                  </a:lnTo>
                  <a:lnTo>
                    <a:pt x="362" y="767"/>
                  </a:lnTo>
                  <a:lnTo>
                    <a:pt x="362" y="764"/>
                  </a:lnTo>
                  <a:lnTo>
                    <a:pt x="361" y="762"/>
                  </a:lnTo>
                  <a:lnTo>
                    <a:pt x="360" y="760"/>
                  </a:lnTo>
                  <a:lnTo>
                    <a:pt x="357" y="757"/>
                  </a:lnTo>
                  <a:lnTo>
                    <a:pt x="355" y="755"/>
                  </a:lnTo>
                  <a:lnTo>
                    <a:pt x="353" y="754"/>
                  </a:lnTo>
                  <a:lnTo>
                    <a:pt x="349" y="753"/>
                  </a:lnTo>
                  <a:lnTo>
                    <a:pt x="347" y="753"/>
                  </a:lnTo>
                  <a:lnTo>
                    <a:pt x="302" y="753"/>
                  </a:lnTo>
                  <a:lnTo>
                    <a:pt x="302" y="662"/>
                  </a:lnTo>
                  <a:lnTo>
                    <a:pt x="303" y="629"/>
                  </a:lnTo>
                  <a:lnTo>
                    <a:pt x="305" y="597"/>
                  </a:lnTo>
                  <a:lnTo>
                    <a:pt x="310" y="566"/>
                  </a:lnTo>
                  <a:lnTo>
                    <a:pt x="317" y="537"/>
                  </a:lnTo>
                  <a:lnTo>
                    <a:pt x="326" y="509"/>
                  </a:lnTo>
                  <a:lnTo>
                    <a:pt x="336" y="482"/>
                  </a:lnTo>
                  <a:lnTo>
                    <a:pt x="343" y="469"/>
                  </a:lnTo>
                  <a:lnTo>
                    <a:pt x="348" y="457"/>
                  </a:lnTo>
                  <a:lnTo>
                    <a:pt x="355" y="446"/>
                  </a:lnTo>
                  <a:lnTo>
                    <a:pt x="363" y="434"/>
                  </a:lnTo>
                  <a:lnTo>
                    <a:pt x="373" y="431"/>
                  </a:lnTo>
                  <a:lnTo>
                    <a:pt x="383" y="426"/>
                  </a:lnTo>
                  <a:lnTo>
                    <a:pt x="393" y="420"/>
                  </a:lnTo>
                  <a:lnTo>
                    <a:pt x="401" y="413"/>
                  </a:lnTo>
                  <a:lnTo>
                    <a:pt x="408" y="404"/>
                  </a:lnTo>
                  <a:lnTo>
                    <a:pt x="414" y="395"/>
                  </a:lnTo>
                  <a:lnTo>
                    <a:pt x="418" y="383"/>
                  </a:lnTo>
                  <a:lnTo>
                    <a:pt x="421" y="372"/>
                  </a:lnTo>
                  <a:lnTo>
                    <a:pt x="433" y="364"/>
                  </a:lnTo>
                  <a:lnTo>
                    <a:pt x="445" y="356"/>
                  </a:lnTo>
                  <a:lnTo>
                    <a:pt x="458" y="348"/>
                  </a:lnTo>
                  <a:lnTo>
                    <a:pt x="471" y="342"/>
                  </a:lnTo>
                  <a:lnTo>
                    <a:pt x="485" y="335"/>
                  </a:lnTo>
                  <a:lnTo>
                    <a:pt x="498" y="329"/>
                  </a:lnTo>
                  <a:lnTo>
                    <a:pt x="513" y="324"/>
                  </a:lnTo>
                  <a:lnTo>
                    <a:pt x="529" y="319"/>
                  </a:lnTo>
                  <a:lnTo>
                    <a:pt x="544" y="315"/>
                  </a:lnTo>
                  <a:lnTo>
                    <a:pt x="559" y="311"/>
                  </a:lnTo>
                  <a:lnTo>
                    <a:pt x="576" y="308"/>
                  </a:lnTo>
                  <a:lnTo>
                    <a:pt x="593" y="306"/>
                  </a:lnTo>
                  <a:lnTo>
                    <a:pt x="610" y="303"/>
                  </a:lnTo>
                  <a:lnTo>
                    <a:pt x="627" y="302"/>
                  </a:lnTo>
                  <a:lnTo>
                    <a:pt x="645" y="301"/>
                  </a:lnTo>
                  <a:lnTo>
                    <a:pt x="663" y="301"/>
                  </a:lnTo>
                  <a:lnTo>
                    <a:pt x="754" y="301"/>
                  </a:lnTo>
                  <a:lnTo>
                    <a:pt x="754" y="346"/>
                  </a:lnTo>
                  <a:lnTo>
                    <a:pt x="754" y="348"/>
                  </a:lnTo>
                  <a:lnTo>
                    <a:pt x="755" y="352"/>
                  </a:lnTo>
                  <a:lnTo>
                    <a:pt x="756" y="354"/>
                  </a:lnTo>
                  <a:lnTo>
                    <a:pt x="758" y="356"/>
                  </a:lnTo>
                  <a:lnTo>
                    <a:pt x="761" y="359"/>
                  </a:lnTo>
                  <a:lnTo>
                    <a:pt x="763" y="360"/>
                  </a:lnTo>
                  <a:lnTo>
                    <a:pt x="765" y="361"/>
                  </a:lnTo>
                  <a:lnTo>
                    <a:pt x="768" y="361"/>
                  </a:lnTo>
                  <a:lnTo>
                    <a:pt x="889" y="361"/>
                  </a:lnTo>
                  <a:lnTo>
                    <a:pt x="892" y="361"/>
                  </a:lnTo>
                  <a:lnTo>
                    <a:pt x="895" y="360"/>
                  </a:lnTo>
                  <a:lnTo>
                    <a:pt x="897" y="359"/>
                  </a:lnTo>
                  <a:lnTo>
                    <a:pt x="899" y="356"/>
                  </a:lnTo>
                  <a:lnTo>
                    <a:pt x="902" y="354"/>
                  </a:lnTo>
                  <a:lnTo>
                    <a:pt x="903" y="352"/>
                  </a:lnTo>
                  <a:lnTo>
                    <a:pt x="904" y="348"/>
                  </a:lnTo>
                  <a:lnTo>
                    <a:pt x="904" y="346"/>
                  </a:lnTo>
                  <a:lnTo>
                    <a:pt x="904" y="225"/>
                  </a:lnTo>
                  <a:lnTo>
                    <a:pt x="904" y="222"/>
                  </a:lnTo>
                  <a:lnTo>
                    <a:pt x="903" y="220"/>
                  </a:lnTo>
                  <a:lnTo>
                    <a:pt x="902" y="217"/>
                  </a:lnTo>
                  <a:lnTo>
                    <a:pt x="899" y="215"/>
                  </a:lnTo>
                  <a:lnTo>
                    <a:pt x="897" y="213"/>
                  </a:lnTo>
                  <a:lnTo>
                    <a:pt x="895" y="212"/>
                  </a:lnTo>
                  <a:lnTo>
                    <a:pt x="892" y="211"/>
                  </a:lnTo>
                  <a:lnTo>
                    <a:pt x="889" y="2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b="1"/>
            </a:p>
          </p:txBody>
        </p:sp>
      </p:grpSp>
      <p:grpSp>
        <p:nvGrpSpPr>
          <p:cNvPr id="7" name="Group 6">
            <a:extLst>
              <a:ext uri="{FF2B5EF4-FFF2-40B4-BE49-F238E27FC236}">
                <a16:creationId xmlns:a16="http://schemas.microsoft.com/office/drawing/2014/main" id="{67793883-0F37-43F2-9087-CA02D76CBAA0}"/>
              </a:ext>
            </a:extLst>
          </p:cNvPr>
          <p:cNvGrpSpPr/>
          <p:nvPr/>
        </p:nvGrpSpPr>
        <p:grpSpPr>
          <a:xfrm>
            <a:off x="9200020" y="1355491"/>
            <a:ext cx="2188782" cy="4663440"/>
            <a:chOff x="9342265" y="1355491"/>
            <a:chExt cx="2188782" cy="4663440"/>
          </a:xfrm>
        </p:grpSpPr>
        <p:sp>
          <p:nvSpPr>
            <p:cNvPr id="9" name="Trapezoid 8">
              <a:extLst>
                <a:ext uri="{FF2B5EF4-FFF2-40B4-BE49-F238E27FC236}">
                  <a16:creationId xmlns:a16="http://schemas.microsoft.com/office/drawing/2014/main" id="{DC39A7A0-6C1B-49A1-94F7-A53FF216120E}"/>
                </a:ext>
                <a:ext uri="{C183D7F6-B498-43B3-948B-1728B52AA6E4}">
                  <adec:decorative xmlns:adec="http://schemas.microsoft.com/office/drawing/2017/decorative" val="1"/>
                </a:ext>
              </a:extLst>
            </p:cNvPr>
            <p:cNvSpPr/>
            <p:nvPr/>
          </p:nvSpPr>
          <p:spPr>
            <a:xfrm rot="5400000">
              <a:off x="8130516" y="2664868"/>
              <a:ext cx="4663440" cy="2044685"/>
            </a:xfrm>
            <a:prstGeom prst="trapezoid">
              <a:avLst/>
            </a:prstGeom>
            <a:solidFill>
              <a:srgbClr val="26859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83" name="Freeform 4346" descr="Icon of box and whisker chart. ">
              <a:extLst>
                <a:ext uri="{FF2B5EF4-FFF2-40B4-BE49-F238E27FC236}">
                  <a16:creationId xmlns:a16="http://schemas.microsoft.com/office/drawing/2014/main" id="{67DDE511-F302-4A09-9D28-47632514695C}"/>
                </a:ext>
              </a:extLst>
            </p:cNvPr>
            <p:cNvSpPr>
              <a:spLocks noEditPoints="1"/>
            </p:cNvSpPr>
            <p:nvPr/>
          </p:nvSpPr>
          <p:spPr bwMode="auto">
            <a:xfrm>
              <a:off x="9837129" y="2975754"/>
              <a:ext cx="1199054" cy="1199054"/>
            </a:xfrm>
            <a:custGeom>
              <a:avLst/>
              <a:gdLst>
                <a:gd name="T0" fmla="*/ 706 w 898"/>
                <a:gd name="T1" fmla="*/ 479 h 898"/>
                <a:gd name="T2" fmla="*/ 652 w 898"/>
                <a:gd name="T3" fmla="*/ 556 h 898"/>
                <a:gd name="T4" fmla="*/ 632 w 898"/>
                <a:gd name="T5" fmla="*/ 551 h 898"/>
                <a:gd name="T6" fmla="*/ 576 w 898"/>
                <a:gd name="T7" fmla="*/ 477 h 898"/>
                <a:gd name="T8" fmla="*/ 571 w 898"/>
                <a:gd name="T9" fmla="*/ 398 h 898"/>
                <a:gd name="T10" fmla="*/ 628 w 898"/>
                <a:gd name="T11" fmla="*/ 129 h 898"/>
                <a:gd name="T12" fmla="*/ 643 w 898"/>
                <a:gd name="T13" fmla="*/ 114 h 898"/>
                <a:gd name="T14" fmla="*/ 658 w 898"/>
                <a:gd name="T15" fmla="*/ 129 h 898"/>
                <a:gd name="T16" fmla="*/ 717 w 898"/>
                <a:gd name="T17" fmla="*/ 398 h 898"/>
                <a:gd name="T18" fmla="*/ 621 w 898"/>
                <a:gd name="T19" fmla="*/ 758 h 898"/>
                <a:gd name="T20" fmla="*/ 589 w 898"/>
                <a:gd name="T21" fmla="*/ 727 h 898"/>
                <a:gd name="T22" fmla="*/ 589 w 898"/>
                <a:gd name="T23" fmla="*/ 680 h 898"/>
                <a:gd name="T24" fmla="*/ 621 w 898"/>
                <a:gd name="T25" fmla="*/ 648 h 898"/>
                <a:gd name="T26" fmla="*/ 667 w 898"/>
                <a:gd name="T27" fmla="*/ 648 h 898"/>
                <a:gd name="T28" fmla="*/ 699 w 898"/>
                <a:gd name="T29" fmla="*/ 680 h 898"/>
                <a:gd name="T30" fmla="*/ 699 w 898"/>
                <a:gd name="T31" fmla="*/ 727 h 898"/>
                <a:gd name="T32" fmla="*/ 667 w 898"/>
                <a:gd name="T33" fmla="*/ 758 h 898"/>
                <a:gd name="T34" fmla="*/ 536 w 898"/>
                <a:gd name="T35" fmla="*/ 294 h 898"/>
                <a:gd name="T36" fmla="*/ 479 w 898"/>
                <a:gd name="T37" fmla="*/ 546 h 898"/>
                <a:gd name="T38" fmla="*/ 461 w 898"/>
                <a:gd name="T39" fmla="*/ 558 h 898"/>
                <a:gd name="T40" fmla="*/ 450 w 898"/>
                <a:gd name="T41" fmla="*/ 299 h 898"/>
                <a:gd name="T42" fmla="*/ 390 w 898"/>
                <a:gd name="T43" fmla="*/ 287 h 898"/>
                <a:gd name="T44" fmla="*/ 398 w 898"/>
                <a:gd name="T45" fmla="*/ 211 h 898"/>
                <a:gd name="T46" fmla="*/ 454 w 898"/>
                <a:gd name="T47" fmla="*/ 118 h 898"/>
                <a:gd name="T48" fmla="*/ 475 w 898"/>
                <a:gd name="T49" fmla="*/ 118 h 898"/>
                <a:gd name="T50" fmla="*/ 530 w 898"/>
                <a:gd name="T51" fmla="*/ 211 h 898"/>
                <a:gd name="T52" fmla="*/ 465 w 898"/>
                <a:gd name="T53" fmla="*/ 763 h 898"/>
                <a:gd name="T54" fmla="*/ 422 w 898"/>
                <a:gd name="T55" fmla="*/ 745 h 898"/>
                <a:gd name="T56" fmla="*/ 405 w 898"/>
                <a:gd name="T57" fmla="*/ 703 h 898"/>
                <a:gd name="T58" fmla="*/ 422 w 898"/>
                <a:gd name="T59" fmla="*/ 661 h 898"/>
                <a:gd name="T60" fmla="*/ 465 w 898"/>
                <a:gd name="T61" fmla="*/ 643 h 898"/>
                <a:gd name="T62" fmla="*/ 506 w 898"/>
                <a:gd name="T63" fmla="*/ 661 h 898"/>
                <a:gd name="T64" fmla="*/ 525 w 898"/>
                <a:gd name="T65" fmla="*/ 703 h 898"/>
                <a:gd name="T66" fmla="*/ 506 w 898"/>
                <a:gd name="T67" fmla="*/ 745 h 898"/>
                <a:gd name="T68" fmla="*/ 465 w 898"/>
                <a:gd name="T69" fmla="*/ 763 h 898"/>
                <a:gd name="T70" fmla="*/ 318 w 898"/>
                <a:gd name="T71" fmla="*/ 419 h 898"/>
                <a:gd name="T72" fmla="*/ 263 w 898"/>
                <a:gd name="T73" fmla="*/ 556 h 898"/>
                <a:gd name="T74" fmla="*/ 242 w 898"/>
                <a:gd name="T75" fmla="*/ 551 h 898"/>
                <a:gd name="T76" fmla="*/ 186 w 898"/>
                <a:gd name="T77" fmla="*/ 417 h 898"/>
                <a:gd name="T78" fmla="*/ 181 w 898"/>
                <a:gd name="T79" fmla="*/ 339 h 898"/>
                <a:gd name="T80" fmla="*/ 240 w 898"/>
                <a:gd name="T81" fmla="*/ 129 h 898"/>
                <a:gd name="T82" fmla="*/ 255 w 898"/>
                <a:gd name="T83" fmla="*/ 114 h 898"/>
                <a:gd name="T84" fmla="*/ 270 w 898"/>
                <a:gd name="T85" fmla="*/ 129 h 898"/>
                <a:gd name="T86" fmla="*/ 329 w 898"/>
                <a:gd name="T87" fmla="*/ 339 h 898"/>
                <a:gd name="T88" fmla="*/ 231 w 898"/>
                <a:gd name="T89" fmla="*/ 758 h 898"/>
                <a:gd name="T90" fmla="*/ 200 w 898"/>
                <a:gd name="T91" fmla="*/ 727 h 898"/>
                <a:gd name="T92" fmla="*/ 200 w 898"/>
                <a:gd name="T93" fmla="*/ 680 h 898"/>
                <a:gd name="T94" fmla="*/ 231 w 898"/>
                <a:gd name="T95" fmla="*/ 648 h 898"/>
                <a:gd name="T96" fmla="*/ 278 w 898"/>
                <a:gd name="T97" fmla="*/ 648 h 898"/>
                <a:gd name="T98" fmla="*/ 311 w 898"/>
                <a:gd name="T99" fmla="*/ 680 h 898"/>
                <a:gd name="T100" fmla="*/ 311 w 898"/>
                <a:gd name="T101" fmla="*/ 727 h 898"/>
                <a:gd name="T102" fmla="*/ 278 w 898"/>
                <a:gd name="T103" fmla="*/ 758 h 898"/>
                <a:gd name="T104" fmla="*/ 10 w 898"/>
                <a:gd name="T105" fmla="*/ 2 h 898"/>
                <a:gd name="T106" fmla="*/ 1 w 898"/>
                <a:gd name="T107" fmla="*/ 886 h 898"/>
                <a:gd name="T108" fmla="*/ 883 w 898"/>
                <a:gd name="T109" fmla="*/ 898 h 898"/>
                <a:gd name="T110" fmla="*/ 898 w 898"/>
                <a:gd name="T111" fmla="*/ 883 h 898"/>
                <a:gd name="T112" fmla="*/ 886 w 898"/>
                <a:gd name="T113" fmla="*/ 0 h 8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98" h="898">
                  <a:moveTo>
                    <a:pt x="718" y="464"/>
                  </a:moveTo>
                  <a:lnTo>
                    <a:pt x="718" y="467"/>
                  </a:lnTo>
                  <a:lnTo>
                    <a:pt x="717" y="470"/>
                  </a:lnTo>
                  <a:lnTo>
                    <a:pt x="716" y="472"/>
                  </a:lnTo>
                  <a:lnTo>
                    <a:pt x="714" y="474"/>
                  </a:lnTo>
                  <a:lnTo>
                    <a:pt x="712" y="477"/>
                  </a:lnTo>
                  <a:lnTo>
                    <a:pt x="710" y="478"/>
                  </a:lnTo>
                  <a:lnTo>
                    <a:pt x="706" y="479"/>
                  </a:lnTo>
                  <a:lnTo>
                    <a:pt x="703" y="479"/>
                  </a:lnTo>
                  <a:lnTo>
                    <a:pt x="658" y="479"/>
                  </a:lnTo>
                  <a:lnTo>
                    <a:pt x="658" y="543"/>
                  </a:lnTo>
                  <a:lnTo>
                    <a:pt x="658" y="546"/>
                  </a:lnTo>
                  <a:lnTo>
                    <a:pt x="657" y="549"/>
                  </a:lnTo>
                  <a:lnTo>
                    <a:pt x="656" y="551"/>
                  </a:lnTo>
                  <a:lnTo>
                    <a:pt x="654" y="554"/>
                  </a:lnTo>
                  <a:lnTo>
                    <a:pt x="652" y="556"/>
                  </a:lnTo>
                  <a:lnTo>
                    <a:pt x="650" y="557"/>
                  </a:lnTo>
                  <a:lnTo>
                    <a:pt x="647" y="558"/>
                  </a:lnTo>
                  <a:lnTo>
                    <a:pt x="643" y="558"/>
                  </a:lnTo>
                  <a:lnTo>
                    <a:pt x="641" y="558"/>
                  </a:lnTo>
                  <a:lnTo>
                    <a:pt x="638" y="557"/>
                  </a:lnTo>
                  <a:lnTo>
                    <a:pt x="636" y="556"/>
                  </a:lnTo>
                  <a:lnTo>
                    <a:pt x="634" y="554"/>
                  </a:lnTo>
                  <a:lnTo>
                    <a:pt x="632" y="551"/>
                  </a:lnTo>
                  <a:lnTo>
                    <a:pt x="631" y="549"/>
                  </a:lnTo>
                  <a:lnTo>
                    <a:pt x="629" y="546"/>
                  </a:lnTo>
                  <a:lnTo>
                    <a:pt x="628" y="543"/>
                  </a:lnTo>
                  <a:lnTo>
                    <a:pt x="628" y="479"/>
                  </a:lnTo>
                  <a:lnTo>
                    <a:pt x="583" y="479"/>
                  </a:lnTo>
                  <a:lnTo>
                    <a:pt x="581" y="479"/>
                  </a:lnTo>
                  <a:lnTo>
                    <a:pt x="578" y="478"/>
                  </a:lnTo>
                  <a:lnTo>
                    <a:pt x="576" y="477"/>
                  </a:lnTo>
                  <a:lnTo>
                    <a:pt x="574" y="474"/>
                  </a:lnTo>
                  <a:lnTo>
                    <a:pt x="572" y="472"/>
                  </a:lnTo>
                  <a:lnTo>
                    <a:pt x="571" y="470"/>
                  </a:lnTo>
                  <a:lnTo>
                    <a:pt x="570" y="467"/>
                  </a:lnTo>
                  <a:lnTo>
                    <a:pt x="570" y="464"/>
                  </a:lnTo>
                  <a:lnTo>
                    <a:pt x="570" y="404"/>
                  </a:lnTo>
                  <a:lnTo>
                    <a:pt x="570" y="402"/>
                  </a:lnTo>
                  <a:lnTo>
                    <a:pt x="571" y="398"/>
                  </a:lnTo>
                  <a:lnTo>
                    <a:pt x="572" y="396"/>
                  </a:lnTo>
                  <a:lnTo>
                    <a:pt x="574" y="394"/>
                  </a:lnTo>
                  <a:lnTo>
                    <a:pt x="576" y="392"/>
                  </a:lnTo>
                  <a:lnTo>
                    <a:pt x="578" y="391"/>
                  </a:lnTo>
                  <a:lnTo>
                    <a:pt x="581" y="390"/>
                  </a:lnTo>
                  <a:lnTo>
                    <a:pt x="583" y="389"/>
                  </a:lnTo>
                  <a:lnTo>
                    <a:pt x="628" y="389"/>
                  </a:lnTo>
                  <a:lnTo>
                    <a:pt x="628" y="129"/>
                  </a:lnTo>
                  <a:lnTo>
                    <a:pt x="629" y="126"/>
                  </a:lnTo>
                  <a:lnTo>
                    <a:pt x="631" y="123"/>
                  </a:lnTo>
                  <a:lnTo>
                    <a:pt x="632" y="121"/>
                  </a:lnTo>
                  <a:lnTo>
                    <a:pt x="634" y="118"/>
                  </a:lnTo>
                  <a:lnTo>
                    <a:pt x="636" y="117"/>
                  </a:lnTo>
                  <a:lnTo>
                    <a:pt x="638" y="115"/>
                  </a:lnTo>
                  <a:lnTo>
                    <a:pt x="641" y="114"/>
                  </a:lnTo>
                  <a:lnTo>
                    <a:pt x="643" y="114"/>
                  </a:lnTo>
                  <a:lnTo>
                    <a:pt x="647" y="114"/>
                  </a:lnTo>
                  <a:lnTo>
                    <a:pt x="650" y="115"/>
                  </a:lnTo>
                  <a:lnTo>
                    <a:pt x="652" y="117"/>
                  </a:lnTo>
                  <a:lnTo>
                    <a:pt x="654" y="118"/>
                  </a:lnTo>
                  <a:lnTo>
                    <a:pt x="656" y="121"/>
                  </a:lnTo>
                  <a:lnTo>
                    <a:pt x="657" y="123"/>
                  </a:lnTo>
                  <a:lnTo>
                    <a:pt x="658" y="127"/>
                  </a:lnTo>
                  <a:lnTo>
                    <a:pt x="658" y="129"/>
                  </a:lnTo>
                  <a:lnTo>
                    <a:pt x="658" y="389"/>
                  </a:lnTo>
                  <a:lnTo>
                    <a:pt x="703" y="389"/>
                  </a:lnTo>
                  <a:lnTo>
                    <a:pt x="706" y="390"/>
                  </a:lnTo>
                  <a:lnTo>
                    <a:pt x="710" y="391"/>
                  </a:lnTo>
                  <a:lnTo>
                    <a:pt x="712" y="392"/>
                  </a:lnTo>
                  <a:lnTo>
                    <a:pt x="714" y="394"/>
                  </a:lnTo>
                  <a:lnTo>
                    <a:pt x="716" y="396"/>
                  </a:lnTo>
                  <a:lnTo>
                    <a:pt x="717" y="398"/>
                  </a:lnTo>
                  <a:lnTo>
                    <a:pt x="718" y="402"/>
                  </a:lnTo>
                  <a:lnTo>
                    <a:pt x="718" y="404"/>
                  </a:lnTo>
                  <a:lnTo>
                    <a:pt x="718" y="464"/>
                  </a:lnTo>
                  <a:close/>
                  <a:moveTo>
                    <a:pt x="643" y="763"/>
                  </a:moveTo>
                  <a:lnTo>
                    <a:pt x="638" y="762"/>
                  </a:lnTo>
                  <a:lnTo>
                    <a:pt x="632" y="762"/>
                  </a:lnTo>
                  <a:lnTo>
                    <a:pt x="626" y="760"/>
                  </a:lnTo>
                  <a:lnTo>
                    <a:pt x="621" y="758"/>
                  </a:lnTo>
                  <a:lnTo>
                    <a:pt x="616" y="756"/>
                  </a:lnTo>
                  <a:lnTo>
                    <a:pt x="610" y="753"/>
                  </a:lnTo>
                  <a:lnTo>
                    <a:pt x="606" y="749"/>
                  </a:lnTo>
                  <a:lnTo>
                    <a:pt x="602" y="745"/>
                  </a:lnTo>
                  <a:lnTo>
                    <a:pt x="597" y="741"/>
                  </a:lnTo>
                  <a:lnTo>
                    <a:pt x="594" y="737"/>
                  </a:lnTo>
                  <a:lnTo>
                    <a:pt x="591" y="731"/>
                  </a:lnTo>
                  <a:lnTo>
                    <a:pt x="589" y="727"/>
                  </a:lnTo>
                  <a:lnTo>
                    <a:pt x="587" y="720"/>
                  </a:lnTo>
                  <a:lnTo>
                    <a:pt x="586" y="715"/>
                  </a:lnTo>
                  <a:lnTo>
                    <a:pt x="584" y="710"/>
                  </a:lnTo>
                  <a:lnTo>
                    <a:pt x="583" y="703"/>
                  </a:lnTo>
                  <a:lnTo>
                    <a:pt x="584" y="697"/>
                  </a:lnTo>
                  <a:lnTo>
                    <a:pt x="586" y="692"/>
                  </a:lnTo>
                  <a:lnTo>
                    <a:pt x="587" y="685"/>
                  </a:lnTo>
                  <a:lnTo>
                    <a:pt x="589" y="680"/>
                  </a:lnTo>
                  <a:lnTo>
                    <a:pt x="591" y="674"/>
                  </a:lnTo>
                  <a:lnTo>
                    <a:pt x="594" y="670"/>
                  </a:lnTo>
                  <a:lnTo>
                    <a:pt x="597" y="665"/>
                  </a:lnTo>
                  <a:lnTo>
                    <a:pt x="602" y="661"/>
                  </a:lnTo>
                  <a:lnTo>
                    <a:pt x="606" y="657"/>
                  </a:lnTo>
                  <a:lnTo>
                    <a:pt x="610" y="653"/>
                  </a:lnTo>
                  <a:lnTo>
                    <a:pt x="616" y="651"/>
                  </a:lnTo>
                  <a:lnTo>
                    <a:pt x="621" y="648"/>
                  </a:lnTo>
                  <a:lnTo>
                    <a:pt x="626" y="646"/>
                  </a:lnTo>
                  <a:lnTo>
                    <a:pt x="632" y="645"/>
                  </a:lnTo>
                  <a:lnTo>
                    <a:pt x="638" y="643"/>
                  </a:lnTo>
                  <a:lnTo>
                    <a:pt x="643" y="643"/>
                  </a:lnTo>
                  <a:lnTo>
                    <a:pt x="650" y="643"/>
                  </a:lnTo>
                  <a:lnTo>
                    <a:pt x="656" y="645"/>
                  </a:lnTo>
                  <a:lnTo>
                    <a:pt x="662" y="646"/>
                  </a:lnTo>
                  <a:lnTo>
                    <a:pt x="667" y="648"/>
                  </a:lnTo>
                  <a:lnTo>
                    <a:pt x="672" y="651"/>
                  </a:lnTo>
                  <a:lnTo>
                    <a:pt x="678" y="653"/>
                  </a:lnTo>
                  <a:lnTo>
                    <a:pt x="682" y="657"/>
                  </a:lnTo>
                  <a:lnTo>
                    <a:pt x="686" y="661"/>
                  </a:lnTo>
                  <a:lnTo>
                    <a:pt x="690" y="665"/>
                  </a:lnTo>
                  <a:lnTo>
                    <a:pt x="694" y="670"/>
                  </a:lnTo>
                  <a:lnTo>
                    <a:pt x="697" y="674"/>
                  </a:lnTo>
                  <a:lnTo>
                    <a:pt x="699" y="680"/>
                  </a:lnTo>
                  <a:lnTo>
                    <a:pt x="701" y="685"/>
                  </a:lnTo>
                  <a:lnTo>
                    <a:pt x="702" y="692"/>
                  </a:lnTo>
                  <a:lnTo>
                    <a:pt x="703" y="697"/>
                  </a:lnTo>
                  <a:lnTo>
                    <a:pt x="703" y="703"/>
                  </a:lnTo>
                  <a:lnTo>
                    <a:pt x="703" y="710"/>
                  </a:lnTo>
                  <a:lnTo>
                    <a:pt x="702" y="715"/>
                  </a:lnTo>
                  <a:lnTo>
                    <a:pt x="701" y="720"/>
                  </a:lnTo>
                  <a:lnTo>
                    <a:pt x="699" y="727"/>
                  </a:lnTo>
                  <a:lnTo>
                    <a:pt x="697" y="731"/>
                  </a:lnTo>
                  <a:lnTo>
                    <a:pt x="694" y="737"/>
                  </a:lnTo>
                  <a:lnTo>
                    <a:pt x="690" y="741"/>
                  </a:lnTo>
                  <a:lnTo>
                    <a:pt x="686" y="745"/>
                  </a:lnTo>
                  <a:lnTo>
                    <a:pt x="682" y="749"/>
                  </a:lnTo>
                  <a:lnTo>
                    <a:pt x="678" y="753"/>
                  </a:lnTo>
                  <a:lnTo>
                    <a:pt x="672" y="756"/>
                  </a:lnTo>
                  <a:lnTo>
                    <a:pt x="667" y="758"/>
                  </a:lnTo>
                  <a:lnTo>
                    <a:pt x="662" y="760"/>
                  </a:lnTo>
                  <a:lnTo>
                    <a:pt x="656" y="762"/>
                  </a:lnTo>
                  <a:lnTo>
                    <a:pt x="650" y="762"/>
                  </a:lnTo>
                  <a:lnTo>
                    <a:pt x="643" y="763"/>
                  </a:lnTo>
                  <a:close/>
                  <a:moveTo>
                    <a:pt x="540" y="284"/>
                  </a:moveTo>
                  <a:lnTo>
                    <a:pt x="538" y="287"/>
                  </a:lnTo>
                  <a:lnTo>
                    <a:pt x="537" y="290"/>
                  </a:lnTo>
                  <a:lnTo>
                    <a:pt x="536" y="294"/>
                  </a:lnTo>
                  <a:lnTo>
                    <a:pt x="534" y="296"/>
                  </a:lnTo>
                  <a:lnTo>
                    <a:pt x="532" y="297"/>
                  </a:lnTo>
                  <a:lnTo>
                    <a:pt x="530" y="298"/>
                  </a:lnTo>
                  <a:lnTo>
                    <a:pt x="527" y="299"/>
                  </a:lnTo>
                  <a:lnTo>
                    <a:pt x="525" y="299"/>
                  </a:lnTo>
                  <a:lnTo>
                    <a:pt x="480" y="299"/>
                  </a:lnTo>
                  <a:lnTo>
                    <a:pt x="480" y="543"/>
                  </a:lnTo>
                  <a:lnTo>
                    <a:pt x="479" y="546"/>
                  </a:lnTo>
                  <a:lnTo>
                    <a:pt x="479" y="549"/>
                  </a:lnTo>
                  <a:lnTo>
                    <a:pt x="476" y="551"/>
                  </a:lnTo>
                  <a:lnTo>
                    <a:pt x="475" y="554"/>
                  </a:lnTo>
                  <a:lnTo>
                    <a:pt x="472" y="556"/>
                  </a:lnTo>
                  <a:lnTo>
                    <a:pt x="470" y="557"/>
                  </a:lnTo>
                  <a:lnTo>
                    <a:pt x="467" y="558"/>
                  </a:lnTo>
                  <a:lnTo>
                    <a:pt x="465" y="558"/>
                  </a:lnTo>
                  <a:lnTo>
                    <a:pt x="461" y="558"/>
                  </a:lnTo>
                  <a:lnTo>
                    <a:pt x="458" y="557"/>
                  </a:lnTo>
                  <a:lnTo>
                    <a:pt x="456" y="556"/>
                  </a:lnTo>
                  <a:lnTo>
                    <a:pt x="454" y="554"/>
                  </a:lnTo>
                  <a:lnTo>
                    <a:pt x="452" y="551"/>
                  </a:lnTo>
                  <a:lnTo>
                    <a:pt x="451" y="549"/>
                  </a:lnTo>
                  <a:lnTo>
                    <a:pt x="450" y="546"/>
                  </a:lnTo>
                  <a:lnTo>
                    <a:pt x="450" y="543"/>
                  </a:lnTo>
                  <a:lnTo>
                    <a:pt x="450" y="299"/>
                  </a:lnTo>
                  <a:lnTo>
                    <a:pt x="405" y="299"/>
                  </a:lnTo>
                  <a:lnTo>
                    <a:pt x="402" y="299"/>
                  </a:lnTo>
                  <a:lnTo>
                    <a:pt x="398" y="298"/>
                  </a:lnTo>
                  <a:lnTo>
                    <a:pt x="396" y="297"/>
                  </a:lnTo>
                  <a:lnTo>
                    <a:pt x="394" y="296"/>
                  </a:lnTo>
                  <a:lnTo>
                    <a:pt x="392" y="294"/>
                  </a:lnTo>
                  <a:lnTo>
                    <a:pt x="391" y="290"/>
                  </a:lnTo>
                  <a:lnTo>
                    <a:pt x="390" y="287"/>
                  </a:lnTo>
                  <a:lnTo>
                    <a:pt x="390" y="284"/>
                  </a:lnTo>
                  <a:lnTo>
                    <a:pt x="390" y="225"/>
                  </a:lnTo>
                  <a:lnTo>
                    <a:pt x="390" y="222"/>
                  </a:lnTo>
                  <a:lnTo>
                    <a:pt x="391" y="219"/>
                  </a:lnTo>
                  <a:lnTo>
                    <a:pt x="392" y="217"/>
                  </a:lnTo>
                  <a:lnTo>
                    <a:pt x="394" y="214"/>
                  </a:lnTo>
                  <a:lnTo>
                    <a:pt x="396" y="212"/>
                  </a:lnTo>
                  <a:lnTo>
                    <a:pt x="398" y="211"/>
                  </a:lnTo>
                  <a:lnTo>
                    <a:pt x="402" y="210"/>
                  </a:lnTo>
                  <a:lnTo>
                    <a:pt x="405" y="210"/>
                  </a:lnTo>
                  <a:lnTo>
                    <a:pt x="450" y="210"/>
                  </a:lnTo>
                  <a:lnTo>
                    <a:pt x="450" y="129"/>
                  </a:lnTo>
                  <a:lnTo>
                    <a:pt x="450" y="126"/>
                  </a:lnTo>
                  <a:lnTo>
                    <a:pt x="451" y="123"/>
                  </a:lnTo>
                  <a:lnTo>
                    <a:pt x="452" y="121"/>
                  </a:lnTo>
                  <a:lnTo>
                    <a:pt x="454" y="118"/>
                  </a:lnTo>
                  <a:lnTo>
                    <a:pt x="456" y="117"/>
                  </a:lnTo>
                  <a:lnTo>
                    <a:pt x="458" y="115"/>
                  </a:lnTo>
                  <a:lnTo>
                    <a:pt x="461" y="114"/>
                  </a:lnTo>
                  <a:lnTo>
                    <a:pt x="465" y="114"/>
                  </a:lnTo>
                  <a:lnTo>
                    <a:pt x="467" y="114"/>
                  </a:lnTo>
                  <a:lnTo>
                    <a:pt x="470" y="115"/>
                  </a:lnTo>
                  <a:lnTo>
                    <a:pt x="472" y="117"/>
                  </a:lnTo>
                  <a:lnTo>
                    <a:pt x="475" y="118"/>
                  </a:lnTo>
                  <a:lnTo>
                    <a:pt x="476" y="121"/>
                  </a:lnTo>
                  <a:lnTo>
                    <a:pt x="479" y="123"/>
                  </a:lnTo>
                  <a:lnTo>
                    <a:pt x="479" y="127"/>
                  </a:lnTo>
                  <a:lnTo>
                    <a:pt x="480" y="129"/>
                  </a:lnTo>
                  <a:lnTo>
                    <a:pt x="480" y="210"/>
                  </a:lnTo>
                  <a:lnTo>
                    <a:pt x="525" y="210"/>
                  </a:lnTo>
                  <a:lnTo>
                    <a:pt x="527" y="210"/>
                  </a:lnTo>
                  <a:lnTo>
                    <a:pt x="530" y="211"/>
                  </a:lnTo>
                  <a:lnTo>
                    <a:pt x="532" y="212"/>
                  </a:lnTo>
                  <a:lnTo>
                    <a:pt x="534" y="214"/>
                  </a:lnTo>
                  <a:lnTo>
                    <a:pt x="536" y="217"/>
                  </a:lnTo>
                  <a:lnTo>
                    <a:pt x="537" y="219"/>
                  </a:lnTo>
                  <a:lnTo>
                    <a:pt x="538" y="222"/>
                  </a:lnTo>
                  <a:lnTo>
                    <a:pt x="540" y="225"/>
                  </a:lnTo>
                  <a:lnTo>
                    <a:pt x="540" y="284"/>
                  </a:lnTo>
                  <a:close/>
                  <a:moveTo>
                    <a:pt x="465" y="763"/>
                  </a:moveTo>
                  <a:lnTo>
                    <a:pt x="458" y="762"/>
                  </a:lnTo>
                  <a:lnTo>
                    <a:pt x="452" y="762"/>
                  </a:lnTo>
                  <a:lnTo>
                    <a:pt x="446" y="760"/>
                  </a:lnTo>
                  <a:lnTo>
                    <a:pt x="441" y="758"/>
                  </a:lnTo>
                  <a:lnTo>
                    <a:pt x="436" y="756"/>
                  </a:lnTo>
                  <a:lnTo>
                    <a:pt x="430" y="753"/>
                  </a:lnTo>
                  <a:lnTo>
                    <a:pt x="426" y="749"/>
                  </a:lnTo>
                  <a:lnTo>
                    <a:pt x="422" y="745"/>
                  </a:lnTo>
                  <a:lnTo>
                    <a:pt x="419" y="741"/>
                  </a:lnTo>
                  <a:lnTo>
                    <a:pt x="414" y="737"/>
                  </a:lnTo>
                  <a:lnTo>
                    <a:pt x="412" y="731"/>
                  </a:lnTo>
                  <a:lnTo>
                    <a:pt x="409" y="727"/>
                  </a:lnTo>
                  <a:lnTo>
                    <a:pt x="407" y="720"/>
                  </a:lnTo>
                  <a:lnTo>
                    <a:pt x="406" y="715"/>
                  </a:lnTo>
                  <a:lnTo>
                    <a:pt x="405" y="710"/>
                  </a:lnTo>
                  <a:lnTo>
                    <a:pt x="405" y="703"/>
                  </a:lnTo>
                  <a:lnTo>
                    <a:pt x="405" y="697"/>
                  </a:lnTo>
                  <a:lnTo>
                    <a:pt x="406" y="692"/>
                  </a:lnTo>
                  <a:lnTo>
                    <a:pt x="407" y="685"/>
                  </a:lnTo>
                  <a:lnTo>
                    <a:pt x="409" y="680"/>
                  </a:lnTo>
                  <a:lnTo>
                    <a:pt x="412" y="674"/>
                  </a:lnTo>
                  <a:lnTo>
                    <a:pt x="414" y="670"/>
                  </a:lnTo>
                  <a:lnTo>
                    <a:pt x="419" y="665"/>
                  </a:lnTo>
                  <a:lnTo>
                    <a:pt x="422" y="661"/>
                  </a:lnTo>
                  <a:lnTo>
                    <a:pt x="426" y="657"/>
                  </a:lnTo>
                  <a:lnTo>
                    <a:pt x="430" y="653"/>
                  </a:lnTo>
                  <a:lnTo>
                    <a:pt x="436" y="651"/>
                  </a:lnTo>
                  <a:lnTo>
                    <a:pt x="441" y="648"/>
                  </a:lnTo>
                  <a:lnTo>
                    <a:pt x="446" y="646"/>
                  </a:lnTo>
                  <a:lnTo>
                    <a:pt x="452" y="645"/>
                  </a:lnTo>
                  <a:lnTo>
                    <a:pt x="458" y="643"/>
                  </a:lnTo>
                  <a:lnTo>
                    <a:pt x="465" y="643"/>
                  </a:lnTo>
                  <a:lnTo>
                    <a:pt x="470" y="643"/>
                  </a:lnTo>
                  <a:lnTo>
                    <a:pt x="476" y="645"/>
                  </a:lnTo>
                  <a:lnTo>
                    <a:pt x="482" y="646"/>
                  </a:lnTo>
                  <a:lnTo>
                    <a:pt x="487" y="648"/>
                  </a:lnTo>
                  <a:lnTo>
                    <a:pt x="492" y="651"/>
                  </a:lnTo>
                  <a:lnTo>
                    <a:pt x="498" y="653"/>
                  </a:lnTo>
                  <a:lnTo>
                    <a:pt x="502" y="657"/>
                  </a:lnTo>
                  <a:lnTo>
                    <a:pt x="506" y="661"/>
                  </a:lnTo>
                  <a:lnTo>
                    <a:pt x="511" y="665"/>
                  </a:lnTo>
                  <a:lnTo>
                    <a:pt x="514" y="670"/>
                  </a:lnTo>
                  <a:lnTo>
                    <a:pt x="517" y="674"/>
                  </a:lnTo>
                  <a:lnTo>
                    <a:pt x="519" y="680"/>
                  </a:lnTo>
                  <a:lnTo>
                    <a:pt x="521" y="685"/>
                  </a:lnTo>
                  <a:lnTo>
                    <a:pt x="522" y="692"/>
                  </a:lnTo>
                  <a:lnTo>
                    <a:pt x="524" y="697"/>
                  </a:lnTo>
                  <a:lnTo>
                    <a:pt x="525" y="703"/>
                  </a:lnTo>
                  <a:lnTo>
                    <a:pt x="524" y="710"/>
                  </a:lnTo>
                  <a:lnTo>
                    <a:pt x="522" y="715"/>
                  </a:lnTo>
                  <a:lnTo>
                    <a:pt x="521" y="720"/>
                  </a:lnTo>
                  <a:lnTo>
                    <a:pt x="519" y="727"/>
                  </a:lnTo>
                  <a:lnTo>
                    <a:pt x="517" y="731"/>
                  </a:lnTo>
                  <a:lnTo>
                    <a:pt x="514" y="737"/>
                  </a:lnTo>
                  <a:lnTo>
                    <a:pt x="511" y="741"/>
                  </a:lnTo>
                  <a:lnTo>
                    <a:pt x="506" y="745"/>
                  </a:lnTo>
                  <a:lnTo>
                    <a:pt x="502" y="749"/>
                  </a:lnTo>
                  <a:lnTo>
                    <a:pt x="498" y="753"/>
                  </a:lnTo>
                  <a:lnTo>
                    <a:pt x="492" y="756"/>
                  </a:lnTo>
                  <a:lnTo>
                    <a:pt x="487" y="758"/>
                  </a:lnTo>
                  <a:lnTo>
                    <a:pt x="482" y="760"/>
                  </a:lnTo>
                  <a:lnTo>
                    <a:pt x="476" y="762"/>
                  </a:lnTo>
                  <a:lnTo>
                    <a:pt x="470" y="762"/>
                  </a:lnTo>
                  <a:lnTo>
                    <a:pt x="465" y="763"/>
                  </a:lnTo>
                  <a:close/>
                  <a:moveTo>
                    <a:pt x="330" y="404"/>
                  </a:moveTo>
                  <a:lnTo>
                    <a:pt x="330" y="407"/>
                  </a:lnTo>
                  <a:lnTo>
                    <a:pt x="329" y="410"/>
                  </a:lnTo>
                  <a:lnTo>
                    <a:pt x="328" y="412"/>
                  </a:lnTo>
                  <a:lnTo>
                    <a:pt x="326" y="414"/>
                  </a:lnTo>
                  <a:lnTo>
                    <a:pt x="323" y="417"/>
                  </a:lnTo>
                  <a:lnTo>
                    <a:pt x="320" y="418"/>
                  </a:lnTo>
                  <a:lnTo>
                    <a:pt x="318" y="419"/>
                  </a:lnTo>
                  <a:lnTo>
                    <a:pt x="315" y="419"/>
                  </a:lnTo>
                  <a:lnTo>
                    <a:pt x="270" y="419"/>
                  </a:lnTo>
                  <a:lnTo>
                    <a:pt x="270" y="543"/>
                  </a:lnTo>
                  <a:lnTo>
                    <a:pt x="270" y="546"/>
                  </a:lnTo>
                  <a:lnTo>
                    <a:pt x="269" y="549"/>
                  </a:lnTo>
                  <a:lnTo>
                    <a:pt x="268" y="551"/>
                  </a:lnTo>
                  <a:lnTo>
                    <a:pt x="266" y="554"/>
                  </a:lnTo>
                  <a:lnTo>
                    <a:pt x="263" y="556"/>
                  </a:lnTo>
                  <a:lnTo>
                    <a:pt x="260" y="557"/>
                  </a:lnTo>
                  <a:lnTo>
                    <a:pt x="258" y="558"/>
                  </a:lnTo>
                  <a:lnTo>
                    <a:pt x="255" y="558"/>
                  </a:lnTo>
                  <a:lnTo>
                    <a:pt x="252" y="558"/>
                  </a:lnTo>
                  <a:lnTo>
                    <a:pt x="250" y="557"/>
                  </a:lnTo>
                  <a:lnTo>
                    <a:pt x="246" y="556"/>
                  </a:lnTo>
                  <a:lnTo>
                    <a:pt x="244" y="554"/>
                  </a:lnTo>
                  <a:lnTo>
                    <a:pt x="242" y="551"/>
                  </a:lnTo>
                  <a:lnTo>
                    <a:pt x="241" y="549"/>
                  </a:lnTo>
                  <a:lnTo>
                    <a:pt x="240" y="546"/>
                  </a:lnTo>
                  <a:lnTo>
                    <a:pt x="240" y="543"/>
                  </a:lnTo>
                  <a:lnTo>
                    <a:pt x="240" y="419"/>
                  </a:lnTo>
                  <a:lnTo>
                    <a:pt x="195" y="419"/>
                  </a:lnTo>
                  <a:lnTo>
                    <a:pt x="192" y="419"/>
                  </a:lnTo>
                  <a:lnTo>
                    <a:pt x="190" y="418"/>
                  </a:lnTo>
                  <a:lnTo>
                    <a:pt x="186" y="417"/>
                  </a:lnTo>
                  <a:lnTo>
                    <a:pt x="184" y="414"/>
                  </a:lnTo>
                  <a:lnTo>
                    <a:pt x="183" y="412"/>
                  </a:lnTo>
                  <a:lnTo>
                    <a:pt x="181" y="410"/>
                  </a:lnTo>
                  <a:lnTo>
                    <a:pt x="180" y="407"/>
                  </a:lnTo>
                  <a:lnTo>
                    <a:pt x="180" y="404"/>
                  </a:lnTo>
                  <a:lnTo>
                    <a:pt x="180" y="344"/>
                  </a:lnTo>
                  <a:lnTo>
                    <a:pt x="180" y="342"/>
                  </a:lnTo>
                  <a:lnTo>
                    <a:pt x="181" y="339"/>
                  </a:lnTo>
                  <a:lnTo>
                    <a:pt x="183" y="336"/>
                  </a:lnTo>
                  <a:lnTo>
                    <a:pt x="184" y="334"/>
                  </a:lnTo>
                  <a:lnTo>
                    <a:pt x="186" y="332"/>
                  </a:lnTo>
                  <a:lnTo>
                    <a:pt x="190" y="331"/>
                  </a:lnTo>
                  <a:lnTo>
                    <a:pt x="192" y="330"/>
                  </a:lnTo>
                  <a:lnTo>
                    <a:pt x="195" y="329"/>
                  </a:lnTo>
                  <a:lnTo>
                    <a:pt x="240" y="329"/>
                  </a:lnTo>
                  <a:lnTo>
                    <a:pt x="240" y="129"/>
                  </a:lnTo>
                  <a:lnTo>
                    <a:pt x="240" y="126"/>
                  </a:lnTo>
                  <a:lnTo>
                    <a:pt x="241" y="123"/>
                  </a:lnTo>
                  <a:lnTo>
                    <a:pt x="242" y="121"/>
                  </a:lnTo>
                  <a:lnTo>
                    <a:pt x="244" y="118"/>
                  </a:lnTo>
                  <a:lnTo>
                    <a:pt x="246" y="117"/>
                  </a:lnTo>
                  <a:lnTo>
                    <a:pt x="250" y="115"/>
                  </a:lnTo>
                  <a:lnTo>
                    <a:pt x="252" y="114"/>
                  </a:lnTo>
                  <a:lnTo>
                    <a:pt x="255" y="114"/>
                  </a:lnTo>
                  <a:lnTo>
                    <a:pt x="258" y="114"/>
                  </a:lnTo>
                  <a:lnTo>
                    <a:pt x="260" y="115"/>
                  </a:lnTo>
                  <a:lnTo>
                    <a:pt x="263" y="117"/>
                  </a:lnTo>
                  <a:lnTo>
                    <a:pt x="266" y="118"/>
                  </a:lnTo>
                  <a:lnTo>
                    <a:pt x="268" y="121"/>
                  </a:lnTo>
                  <a:lnTo>
                    <a:pt x="269" y="123"/>
                  </a:lnTo>
                  <a:lnTo>
                    <a:pt x="270" y="127"/>
                  </a:lnTo>
                  <a:lnTo>
                    <a:pt x="270" y="129"/>
                  </a:lnTo>
                  <a:lnTo>
                    <a:pt x="270" y="329"/>
                  </a:lnTo>
                  <a:lnTo>
                    <a:pt x="315" y="329"/>
                  </a:lnTo>
                  <a:lnTo>
                    <a:pt x="318" y="330"/>
                  </a:lnTo>
                  <a:lnTo>
                    <a:pt x="320" y="331"/>
                  </a:lnTo>
                  <a:lnTo>
                    <a:pt x="323" y="332"/>
                  </a:lnTo>
                  <a:lnTo>
                    <a:pt x="326" y="334"/>
                  </a:lnTo>
                  <a:lnTo>
                    <a:pt x="328" y="336"/>
                  </a:lnTo>
                  <a:lnTo>
                    <a:pt x="329" y="339"/>
                  </a:lnTo>
                  <a:lnTo>
                    <a:pt x="330" y="342"/>
                  </a:lnTo>
                  <a:lnTo>
                    <a:pt x="330" y="344"/>
                  </a:lnTo>
                  <a:lnTo>
                    <a:pt x="330" y="404"/>
                  </a:lnTo>
                  <a:close/>
                  <a:moveTo>
                    <a:pt x="255" y="763"/>
                  </a:moveTo>
                  <a:lnTo>
                    <a:pt x="249" y="762"/>
                  </a:lnTo>
                  <a:lnTo>
                    <a:pt x="243" y="762"/>
                  </a:lnTo>
                  <a:lnTo>
                    <a:pt x="237" y="760"/>
                  </a:lnTo>
                  <a:lnTo>
                    <a:pt x="231" y="758"/>
                  </a:lnTo>
                  <a:lnTo>
                    <a:pt x="226" y="756"/>
                  </a:lnTo>
                  <a:lnTo>
                    <a:pt x="222" y="753"/>
                  </a:lnTo>
                  <a:lnTo>
                    <a:pt x="216" y="749"/>
                  </a:lnTo>
                  <a:lnTo>
                    <a:pt x="212" y="745"/>
                  </a:lnTo>
                  <a:lnTo>
                    <a:pt x="209" y="741"/>
                  </a:lnTo>
                  <a:lnTo>
                    <a:pt x="206" y="737"/>
                  </a:lnTo>
                  <a:lnTo>
                    <a:pt x="203" y="731"/>
                  </a:lnTo>
                  <a:lnTo>
                    <a:pt x="200" y="727"/>
                  </a:lnTo>
                  <a:lnTo>
                    <a:pt x="198" y="720"/>
                  </a:lnTo>
                  <a:lnTo>
                    <a:pt x="196" y="715"/>
                  </a:lnTo>
                  <a:lnTo>
                    <a:pt x="195" y="710"/>
                  </a:lnTo>
                  <a:lnTo>
                    <a:pt x="195" y="703"/>
                  </a:lnTo>
                  <a:lnTo>
                    <a:pt x="195" y="697"/>
                  </a:lnTo>
                  <a:lnTo>
                    <a:pt x="196" y="692"/>
                  </a:lnTo>
                  <a:lnTo>
                    <a:pt x="198" y="685"/>
                  </a:lnTo>
                  <a:lnTo>
                    <a:pt x="200" y="680"/>
                  </a:lnTo>
                  <a:lnTo>
                    <a:pt x="203" y="674"/>
                  </a:lnTo>
                  <a:lnTo>
                    <a:pt x="206" y="670"/>
                  </a:lnTo>
                  <a:lnTo>
                    <a:pt x="209" y="665"/>
                  </a:lnTo>
                  <a:lnTo>
                    <a:pt x="212" y="661"/>
                  </a:lnTo>
                  <a:lnTo>
                    <a:pt x="216" y="657"/>
                  </a:lnTo>
                  <a:lnTo>
                    <a:pt x="222" y="653"/>
                  </a:lnTo>
                  <a:lnTo>
                    <a:pt x="226" y="651"/>
                  </a:lnTo>
                  <a:lnTo>
                    <a:pt x="231" y="648"/>
                  </a:lnTo>
                  <a:lnTo>
                    <a:pt x="237" y="646"/>
                  </a:lnTo>
                  <a:lnTo>
                    <a:pt x="243" y="645"/>
                  </a:lnTo>
                  <a:lnTo>
                    <a:pt x="249" y="643"/>
                  </a:lnTo>
                  <a:lnTo>
                    <a:pt x="255" y="643"/>
                  </a:lnTo>
                  <a:lnTo>
                    <a:pt x="261" y="643"/>
                  </a:lnTo>
                  <a:lnTo>
                    <a:pt x="267" y="645"/>
                  </a:lnTo>
                  <a:lnTo>
                    <a:pt x="273" y="646"/>
                  </a:lnTo>
                  <a:lnTo>
                    <a:pt x="278" y="648"/>
                  </a:lnTo>
                  <a:lnTo>
                    <a:pt x="284" y="651"/>
                  </a:lnTo>
                  <a:lnTo>
                    <a:pt x="288" y="653"/>
                  </a:lnTo>
                  <a:lnTo>
                    <a:pt x="293" y="657"/>
                  </a:lnTo>
                  <a:lnTo>
                    <a:pt x="298" y="661"/>
                  </a:lnTo>
                  <a:lnTo>
                    <a:pt x="301" y="665"/>
                  </a:lnTo>
                  <a:lnTo>
                    <a:pt x="304" y="670"/>
                  </a:lnTo>
                  <a:lnTo>
                    <a:pt x="307" y="674"/>
                  </a:lnTo>
                  <a:lnTo>
                    <a:pt x="311" y="680"/>
                  </a:lnTo>
                  <a:lnTo>
                    <a:pt x="312" y="685"/>
                  </a:lnTo>
                  <a:lnTo>
                    <a:pt x="314" y="692"/>
                  </a:lnTo>
                  <a:lnTo>
                    <a:pt x="315" y="697"/>
                  </a:lnTo>
                  <a:lnTo>
                    <a:pt x="315" y="703"/>
                  </a:lnTo>
                  <a:lnTo>
                    <a:pt x="315" y="710"/>
                  </a:lnTo>
                  <a:lnTo>
                    <a:pt x="314" y="715"/>
                  </a:lnTo>
                  <a:lnTo>
                    <a:pt x="312" y="720"/>
                  </a:lnTo>
                  <a:lnTo>
                    <a:pt x="311" y="727"/>
                  </a:lnTo>
                  <a:lnTo>
                    <a:pt x="307" y="731"/>
                  </a:lnTo>
                  <a:lnTo>
                    <a:pt x="304" y="737"/>
                  </a:lnTo>
                  <a:lnTo>
                    <a:pt x="301" y="741"/>
                  </a:lnTo>
                  <a:lnTo>
                    <a:pt x="298" y="745"/>
                  </a:lnTo>
                  <a:lnTo>
                    <a:pt x="293" y="749"/>
                  </a:lnTo>
                  <a:lnTo>
                    <a:pt x="288" y="753"/>
                  </a:lnTo>
                  <a:lnTo>
                    <a:pt x="284" y="756"/>
                  </a:lnTo>
                  <a:lnTo>
                    <a:pt x="278" y="758"/>
                  </a:lnTo>
                  <a:lnTo>
                    <a:pt x="273" y="760"/>
                  </a:lnTo>
                  <a:lnTo>
                    <a:pt x="267" y="762"/>
                  </a:lnTo>
                  <a:lnTo>
                    <a:pt x="261" y="762"/>
                  </a:lnTo>
                  <a:lnTo>
                    <a:pt x="255" y="763"/>
                  </a:lnTo>
                  <a:close/>
                  <a:moveTo>
                    <a:pt x="883" y="0"/>
                  </a:moveTo>
                  <a:lnTo>
                    <a:pt x="15" y="0"/>
                  </a:lnTo>
                  <a:lnTo>
                    <a:pt x="13" y="0"/>
                  </a:lnTo>
                  <a:lnTo>
                    <a:pt x="10" y="2"/>
                  </a:lnTo>
                  <a:lnTo>
                    <a:pt x="8" y="3"/>
                  </a:lnTo>
                  <a:lnTo>
                    <a:pt x="6" y="5"/>
                  </a:lnTo>
                  <a:lnTo>
                    <a:pt x="3" y="7"/>
                  </a:lnTo>
                  <a:lnTo>
                    <a:pt x="2" y="10"/>
                  </a:lnTo>
                  <a:lnTo>
                    <a:pt x="1" y="12"/>
                  </a:lnTo>
                  <a:lnTo>
                    <a:pt x="0" y="15"/>
                  </a:lnTo>
                  <a:lnTo>
                    <a:pt x="0" y="883"/>
                  </a:lnTo>
                  <a:lnTo>
                    <a:pt x="1" y="886"/>
                  </a:lnTo>
                  <a:lnTo>
                    <a:pt x="2" y="888"/>
                  </a:lnTo>
                  <a:lnTo>
                    <a:pt x="3" y="892"/>
                  </a:lnTo>
                  <a:lnTo>
                    <a:pt x="6" y="894"/>
                  </a:lnTo>
                  <a:lnTo>
                    <a:pt x="8" y="895"/>
                  </a:lnTo>
                  <a:lnTo>
                    <a:pt x="10" y="897"/>
                  </a:lnTo>
                  <a:lnTo>
                    <a:pt x="13" y="897"/>
                  </a:lnTo>
                  <a:lnTo>
                    <a:pt x="15" y="898"/>
                  </a:lnTo>
                  <a:lnTo>
                    <a:pt x="883" y="898"/>
                  </a:lnTo>
                  <a:lnTo>
                    <a:pt x="886" y="897"/>
                  </a:lnTo>
                  <a:lnTo>
                    <a:pt x="888" y="897"/>
                  </a:lnTo>
                  <a:lnTo>
                    <a:pt x="892" y="895"/>
                  </a:lnTo>
                  <a:lnTo>
                    <a:pt x="894" y="894"/>
                  </a:lnTo>
                  <a:lnTo>
                    <a:pt x="896" y="892"/>
                  </a:lnTo>
                  <a:lnTo>
                    <a:pt x="897" y="888"/>
                  </a:lnTo>
                  <a:lnTo>
                    <a:pt x="898" y="886"/>
                  </a:lnTo>
                  <a:lnTo>
                    <a:pt x="898" y="883"/>
                  </a:lnTo>
                  <a:lnTo>
                    <a:pt x="898" y="15"/>
                  </a:lnTo>
                  <a:lnTo>
                    <a:pt x="898" y="12"/>
                  </a:lnTo>
                  <a:lnTo>
                    <a:pt x="897" y="10"/>
                  </a:lnTo>
                  <a:lnTo>
                    <a:pt x="896" y="7"/>
                  </a:lnTo>
                  <a:lnTo>
                    <a:pt x="894" y="5"/>
                  </a:lnTo>
                  <a:lnTo>
                    <a:pt x="892" y="3"/>
                  </a:lnTo>
                  <a:lnTo>
                    <a:pt x="888" y="2"/>
                  </a:lnTo>
                  <a:lnTo>
                    <a:pt x="886" y="0"/>
                  </a:lnTo>
                  <a:lnTo>
                    <a:pt x="883"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b="1"/>
            </a:p>
          </p:txBody>
        </p:sp>
        <p:sp>
          <p:nvSpPr>
            <p:cNvPr id="84" name="Rectangle 83">
              <a:extLst>
                <a:ext uri="{FF2B5EF4-FFF2-40B4-BE49-F238E27FC236}">
                  <a16:creationId xmlns:a16="http://schemas.microsoft.com/office/drawing/2014/main" id="{85AD8A3A-AD06-4535-BA49-A61A73C3D43F}"/>
                </a:ext>
              </a:extLst>
            </p:cNvPr>
            <p:cNvSpPr/>
            <p:nvPr/>
          </p:nvSpPr>
          <p:spPr>
            <a:xfrm>
              <a:off x="9342265" y="4489514"/>
              <a:ext cx="2188782" cy="276999"/>
            </a:xfrm>
            <a:prstGeom prst="rect">
              <a:avLst/>
            </a:prstGeom>
          </p:spPr>
          <p:txBody>
            <a:bodyPr wrap="square" lIns="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1">
                  <a:solidFill>
                    <a:schemeClr val="bg1"/>
                  </a:solidFill>
                  <a:latin typeface="Book Antiqua" panose="02040602050305030304" pitchFamily="18" charset="0"/>
                </a:rPr>
                <a:t>Future Scope</a:t>
              </a:r>
            </a:p>
          </p:txBody>
        </p:sp>
      </p:grpSp>
      <p:pic>
        <p:nvPicPr>
          <p:cNvPr id="32" name="Picture 3" descr="Image result for purdue krannert">
            <a:extLst>
              <a:ext uri="{FF2B5EF4-FFF2-40B4-BE49-F238E27FC236}">
                <a16:creationId xmlns:a16="http://schemas.microsoft.com/office/drawing/2014/main" id="{22B0B614-2168-4BC0-A57B-90F6C12372A9}"/>
              </a:ext>
            </a:extLst>
          </p:cNvPr>
          <p:cNvPicPr>
            <a:picLocks noChangeAspect="1" noChangeArrowheads="1"/>
          </p:cNvPicPr>
          <p:nvPr/>
        </p:nvPicPr>
        <p:blipFill>
          <a:blip r:embed="rId2" cstate="hqprint">
            <a:extLst>
              <a:ext uri="{28A0092B-C50C-407E-A947-70E740481C1C}">
                <a14:useLocalDpi xmlns:a14="http://schemas.microsoft.com/office/drawing/2010/main" val="0"/>
              </a:ext>
            </a:extLst>
          </a:blip>
          <a:srcRect/>
          <a:stretch>
            <a:fillRect/>
          </a:stretch>
        </p:blipFill>
        <p:spPr bwMode="auto">
          <a:xfrm>
            <a:off x="10998011" y="6266638"/>
            <a:ext cx="1139559" cy="571555"/>
          </a:xfrm>
          <a:prstGeom prst="rect">
            <a:avLst/>
          </a:prstGeom>
          <a:noFill/>
          <a:extLst>
            <a:ext uri="{909E8E84-426E-40DD-AFC4-6F175D3DCCD1}">
              <a14:hiddenFill xmlns:a14="http://schemas.microsoft.com/office/drawing/2010/main">
                <a:solidFill>
                  <a:srgbClr val="FFFFFF"/>
                </a:solidFill>
              </a14:hiddenFill>
            </a:ext>
          </a:extLst>
        </p:spPr>
      </p:pic>
      <p:sp>
        <p:nvSpPr>
          <p:cNvPr id="34" name="TextBox 33">
            <a:extLst>
              <a:ext uri="{FF2B5EF4-FFF2-40B4-BE49-F238E27FC236}">
                <a16:creationId xmlns:a16="http://schemas.microsoft.com/office/drawing/2014/main" id="{20D5DF74-A0B6-4FDF-BCD5-92CAB4E8EEEF}"/>
              </a:ext>
            </a:extLst>
          </p:cNvPr>
          <p:cNvSpPr txBox="1"/>
          <p:nvPr/>
        </p:nvSpPr>
        <p:spPr>
          <a:xfrm>
            <a:off x="233082" y="251012"/>
            <a:ext cx="10941978" cy="523220"/>
          </a:xfrm>
          <a:prstGeom prst="rect">
            <a:avLst/>
          </a:prstGeom>
          <a:noFill/>
        </p:spPr>
        <p:txBody>
          <a:bodyPr wrap="square" rtlCol="0">
            <a:spAutoFit/>
          </a:bodyPr>
          <a:lstStyle/>
          <a:p>
            <a:r>
              <a:rPr lang="en-US" sz="2800" b="1">
                <a:latin typeface="Georgia" panose="02040502050405020303" pitchFamily="18" charset="0"/>
              </a:rPr>
              <a:t>AGENDA</a:t>
            </a:r>
          </a:p>
        </p:txBody>
      </p:sp>
      <p:sp>
        <p:nvSpPr>
          <p:cNvPr id="35" name="Rectangle 34">
            <a:extLst>
              <a:ext uri="{FF2B5EF4-FFF2-40B4-BE49-F238E27FC236}">
                <a16:creationId xmlns:a16="http://schemas.microsoft.com/office/drawing/2014/main" id="{63C355C1-BDC9-4C94-9E16-D72C0E46BA1B}"/>
              </a:ext>
            </a:extLst>
          </p:cNvPr>
          <p:cNvSpPr/>
          <p:nvPr/>
        </p:nvSpPr>
        <p:spPr>
          <a:xfrm>
            <a:off x="400050" y="6812280"/>
            <a:ext cx="11791579" cy="4572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a:t>
            </a:r>
          </a:p>
        </p:txBody>
      </p:sp>
      <p:pic>
        <p:nvPicPr>
          <p:cNvPr id="36" name="Graphic 35" descr="Toothpaste">
            <a:extLst>
              <a:ext uri="{FF2B5EF4-FFF2-40B4-BE49-F238E27FC236}">
                <a16:creationId xmlns:a16="http://schemas.microsoft.com/office/drawing/2014/main" id="{EC329E47-FF83-47E4-B506-8325D652BDC5}"/>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6219692">
            <a:off x="-34366" y="6088478"/>
            <a:ext cx="598153" cy="598153"/>
          </a:xfrm>
          <a:prstGeom prst="rect">
            <a:avLst/>
          </a:prstGeom>
        </p:spPr>
      </p:pic>
      <p:pic>
        <p:nvPicPr>
          <p:cNvPr id="37" name="Graphic 36" descr="Snake">
            <a:extLst>
              <a:ext uri="{FF2B5EF4-FFF2-40B4-BE49-F238E27FC236}">
                <a16:creationId xmlns:a16="http://schemas.microsoft.com/office/drawing/2014/main" id="{F855B1C3-7E68-4E3B-985F-051BA62C34B1}"/>
              </a:ext>
            </a:extLst>
          </p:cNvPr>
          <p:cNvPicPr>
            <a:picLocks noChangeAspect="1"/>
          </p:cNvPicPr>
          <p:nvPr/>
        </p:nvPicPr>
        <p:blipFill rotWithShape="1">
          <a:blip r:embed="rId5" cstate="hq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l="-2" t="56027" r="47111"/>
          <a:stretch/>
        </p:blipFill>
        <p:spPr>
          <a:xfrm rot="7001259">
            <a:off x="297005" y="6680310"/>
            <a:ext cx="336423" cy="279713"/>
          </a:xfrm>
          <a:prstGeom prst="rect">
            <a:avLst/>
          </a:prstGeom>
        </p:spPr>
      </p:pic>
    </p:spTree>
    <p:extLst>
      <p:ext uri="{BB962C8B-B14F-4D97-AF65-F5344CB8AC3E}">
        <p14:creationId xmlns:p14="http://schemas.microsoft.com/office/powerpoint/2010/main" val="402429306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9F9C243-F6F9-4217-BE94-EDB2B74004C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A9F9C243-F6F9-4217-BE94-EDB2B74004C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727749-65AB-4FAC-AC8A-78D01F343C6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400" b="1">
              <a:latin typeface="Calibri" panose="020F0502020204030204" pitchFamily="34" charset="0"/>
              <a:sym typeface="Calibri" panose="020F0502020204030204" pitchFamily="34" charset="0"/>
            </a:endParaRPr>
          </a:p>
        </p:txBody>
      </p:sp>
      <p:sp>
        <p:nvSpPr>
          <p:cNvPr id="9" name="TextBox 8">
            <a:extLst>
              <a:ext uri="{FF2B5EF4-FFF2-40B4-BE49-F238E27FC236}">
                <a16:creationId xmlns:a16="http://schemas.microsoft.com/office/drawing/2014/main" id="{9091F50D-EB45-46FF-9F95-4F903BBE2788}"/>
              </a:ext>
            </a:extLst>
          </p:cNvPr>
          <p:cNvSpPr txBox="1"/>
          <p:nvPr/>
        </p:nvSpPr>
        <p:spPr>
          <a:xfrm>
            <a:off x="472611" y="205483"/>
            <a:ext cx="10941978" cy="523220"/>
          </a:xfrm>
          <a:prstGeom prst="rect">
            <a:avLst/>
          </a:prstGeom>
          <a:noFill/>
        </p:spPr>
        <p:txBody>
          <a:bodyPr wrap="square" rtlCol="0">
            <a:spAutoFit/>
          </a:bodyPr>
          <a:lstStyle/>
          <a:p>
            <a:r>
              <a:rPr lang="en-US" sz="2800" b="1" dirty="0">
                <a:latin typeface="Georgia" panose="02040502050405020303" pitchFamily="18" charset="0"/>
              </a:rPr>
              <a:t>OPTIMIZATION IN EXCEL - SANITISER</a:t>
            </a:r>
          </a:p>
        </p:txBody>
      </p:sp>
      <p:grpSp>
        <p:nvGrpSpPr>
          <p:cNvPr id="6" name="Group 5">
            <a:extLst>
              <a:ext uri="{FF2B5EF4-FFF2-40B4-BE49-F238E27FC236}">
                <a16:creationId xmlns:a16="http://schemas.microsoft.com/office/drawing/2014/main" id="{5E30FEF6-5D45-45F5-987F-6B9AFF5208B1}"/>
              </a:ext>
            </a:extLst>
          </p:cNvPr>
          <p:cNvGrpSpPr/>
          <p:nvPr/>
        </p:nvGrpSpPr>
        <p:grpSpPr>
          <a:xfrm>
            <a:off x="-34366" y="6088478"/>
            <a:ext cx="12225995" cy="899900"/>
            <a:chOff x="-34366" y="6088478"/>
            <a:chExt cx="12225995" cy="899900"/>
          </a:xfrm>
        </p:grpSpPr>
        <p:sp>
          <p:nvSpPr>
            <p:cNvPr id="7" name="Rectangle 6">
              <a:extLst>
                <a:ext uri="{FF2B5EF4-FFF2-40B4-BE49-F238E27FC236}">
                  <a16:creationId xmlns:a16="http://schemas.microsoft.com/office/drawing/2014/main" id="{7743F998-A474-4BB6-8A16-00CA42D29A3D}"/>
                </a:ext>
              </a:extLst>
            </p:cNvPr>
            <p:cNvSpPr/>
            <p:nvPr/>
          </p:nvSpPr>
          <p:spPr>
            <a:xfrm>
              <a:off x="400050" y="6812280"/>
              <a:ext cx="11791579" cy="4572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a:t>
              </a:r>
            </a:p>
          </p:txBody>
        </p:sp>
        <p:pic>
          <p:nvPicPr>
            <p:cNvPr id="8" name="Graphic 7" descr="Toothpaste">
              <a:extLst>
                <a:ext uri="{FF2B5EF4-FFF2-40B4-BE49-F238E27FC236}">
                  <a16:creationId xmlns:a16="http://schemas.microsoft.com/office/drawing/2014/main" id="{1E3381BB-96CC-4D37-A4A0-D8048984A27A}"/>
                </a:ext>
              </a:extLst>
            </p:cNvPr>
            <p:cNvPicPr>
              <a:picLocks noChangeAspect="1"/>
            </p:cNvPicPr>
            <p:nvPr/>
          </p:nvPicPr>
          <p:blipFill>
            <a:blip r:embed="rId7" cstate="hq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6219692">
              <a:off x="-34366" y="6088478"/>
              <a:ext cx="598153" cy="598153"/>
            </a:xfrm>
            <a:prstGeom prst="rect">
              <a:avLst/>
            </a:prstGeom>
          </p:spPr>
        </p:pic>
        <p:pic>
          <p:nvPicPr>
            <p:cNvPr id="10" name="Graphic 9" descr="Snake">
              <a:extLst>
                <a:ext uri="{FF2B5EF4-FFF2-40B4-BE49-F238E27FC236}">
                  <a16:creationId xmlns:a16="http://schemas.microsoft.com/office/drawing/2014/main" id="{7C5E5996-E1F9-4F9B-BE2C-ECA47AB5A57E}"/>
                </a:ext>
              </a:extLst>
            </p:cNvPr>
            <p:cNvPicPr>
              <a:picLocks noChangeAspect="1"/>
            </p:cNvPicPr>
            <p:nvPr/>
          </p:nvPicPr>
          <p:blipFill rotWithShape="1">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rcRect l="-2" t="56027" r="47111"/>
            <a:stretch/>
          </p:blipFill>
          <p:spPr>
            <a:xfrm rot="7001259">
              <a:off x="297005" y="6680310"/>
              <a:ext cx="336423" cy="279713"/>
            </a:xfrm>
            <a:prstGeom prst="rect">
              <a:avLst/>
            </a:prstGeom>
          </p:spPr>
        </p:pic>
      </p:grpSp>
      <p:pic>
        <p:nvPicPr>
          <p:cNvPr id="3" name="Picture 2">
            <a:extLst>
              <a:ext uri="{FF2B5EF4-FFF2-40B4-BE49-F238E27FC236}">
                <a16:creationId xmlns:a16="http://schemas.microsoft.com/office/drawing/2014/main" id="{9FE21363-4532-411A-A140-21C610EB26FD}"/>
              </a:ext>
            </a:extLst>
          </p:cNvPr>
          <p:cNvPicPr>
            <a:picLocks noChangeAspect="1"/>
          </p:cNvPicPr>
          <p:nvPr/>
        </p:nvPicPr>
        <p:blipFill>
          <a:blip r:embed="rId11">
            <a:clrChange>
              <a:clrFrom>
                <a:srgbClr val="FFFFFF"/>
              </a:clrFrom>
              <a:clrTo>
                <a:srgbClr val="FFFFFF">
                  <a:alpha val="0"/>
                </a:srgbClr>
              </a:clrTo>
            </a:clrChange>
          </a:blip>
          <a:stretch>
            <a:fillRect/>
          </a:stretch>
        </p:blipFill>
        <p:spPr>
          <a:xfrm>
            <a:off x="470070" y="1862723"/>
            <a:ext cx="11296758" cy="3560975"/>
          </a:xfrm>
          <a:prstGeom prst="rect">
            <a:avLst/>
          </a:prstGeom>
        </p:spPr>
      </p:pic>
    </p:spTree>
    <p:extLst>
      <p:ext uri="{BB962C8B-B14F-4D97-AF65-F5344CB8AC3E}">
        <p14:creationId xmlns:p14="http://schemas.microsoft.com/office/powerpoint/2010/main" val="120400607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9F9C243-F6F9-4217-BE94-EDB2B74004C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A9F9C243-F6F9-4217-BE94-EDB2B74004C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727749-65AB-4FAC-AC8A-78D01F343C6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400" b="1">
              <a:latin typeface="Calibri" panose="020F0502020204030204" pitchFamily="34" charset="0"/>
              <a:sym typeface="Calibri" panose="020F0502020204030204" pitchFamily="34" charset="0"/>
            </a:endParaRPr>
          </a:p>
        </p:txBody>
      </p:sp>
      <p:sp>
        <p:nvSpPr>
          <p:cNvPr id="9" name="TextBox 8">
            <a:extLst>
              <a:ext uri="{FF2B5EF4-FFF2-40B4-BE49-F238E27FC236}">
                <a16:creationId xmlns:a16="http://schemas.microsoft.com/office/drawing/2014/main" id="{9091F50D-EB45-46FF-9F95-4F903BBE2788}"/>
              </a:ext>
            </a:extLst>
          </p:cNvPr>
          <p:cNvSpPr txBox="1"/>
          <p:nvPr/>
        </p:nvSpPr>
        <p:spPr>
          <a:xfrm>
            <a:off x="472611" y="205483"/>
            <a:ext cx="10941978" cy="523220"/>
          </a:xfrm>
          <a:prstGeom prst="rect">
            <a:avLst/>
          </a:prstGeom>
          <a:noFill/>
        </p:spPr>
        <p:txBody>
          <a:bodyPr wrap="square" rtlCol="0">
            <a:spAutoFit/>
          </a:bodyPr>
          <a:lstStyle/>
          <a:p>
            <a:r>
              <a:rPr lang="en-US" sz="2800" b="1" dirty="0">
                <a:latin typeface="Georgia" panose="02040502050405020303" pitchFamily="18" charset="0"/>
              </a:rPr>
              <a:t>OPTIMIZATION IN EXCEL – CLEANING WIPES</a:t>
            </a:r>
          </a:p>
        </p:txBody>
      </p:sp>
      <p:grpSp>
        <p:nvGrpSpPr>
          <p:cNvPr id="6" name="Group 5">
            <a:extLst>
              <a:ext uri="{FF2B5EF4-FFF2-40B4-BE49-F238E27FC236}">
                <a16:creationId xmlns:a16="http://schemas.microsoft.com/office/drawing/2014/main" id="{5E30FEF6-5D45-45F5-987F-6B9AFF5208B1}"/>
              </a:ext>
            </a:extLst>
          </p:cNvPr>
          <p:cNvGrpSpPr/>
          <p:nvPr/>
        </p:nvGrpSpPr>
        <p:grpSpPr>
          <a:xfrm>
            <a:off x="-34366" y="6088478"/>
            <a:ext cx="12225995" cy="899900"/>
            <a:chOff x="-34366" y="6088478"/>
            <a:chExt cx="12225995" cy="899900"/>
          </a:xfrm>
        </p:grpSpPr>
        <p:sp>
          <p:nvSpPr>
            <p:cNvPr id="7" name="Rectangle 6">
              <a:extLst>
                <a:ext uri="{FF2B5EF4-FFF2-40B4-BE49-F238E27FC236}">
                  <a16:creationId xmlns:a16="http://schemas.microsoft.com/office/drawing/2014/main" id="{7743F998-A474-4BB6-8A16-00CA42D29A3D}"/>
                </a:ext>
              </a:extLst>
            </p:cNvPr>
            <p:cNvSpPr/>
            <p:nvPr/>
          </p:nvSpPr>
          <p:spPr>
            <a:xfrm>
              <a:off x="400050" y="6812280"/>
              <a:ext cx="11791579" cy="4572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a:t>
              </a:r>
            </a:p>
          </p:txBody>
        </p:sp>
        <p:pic>
          <p:nvPicPr>
            <p:cNvPr id="8" name="Graphic 7" descr="Toothpaste">
              <a:extLst>
                <a:ext uri="{FF2B5EF4-FFF2-40B4-BE49-F238E27FC236}">
                  <a16:creationId xmlns:a16="http://schemas.microsoft.com/office/drawing/2014/main" id="{1E3381BB-96CC-4D37-A4A0-D8048984A27A}"/>
                </a:ext>
              </a:extLst>
            </p:cNvPr>
            <p:cNvPicPr>
              <a:picLocks noChangeAspect="1"/>
            </p:cNvPicPr>
            <p:nvPr/>
          </p:nvPicPr>
          <p:blipFill>
            <a:blip r:embed="rId7" cstate="hq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6219692">
              <a:off x="-34366" y="6088478"/>
              <a:ext cx="598153" cy="598153"/>
            </a:xfrm>
            <a:prstGeom prst="rect">
              <a:avLst/>
            </a:prstGeom>
          </p:spPr>
        </p:pic>
        <p:pic>
          <p:nvPicPr>
            <p:cNvPr id="10" name="Graphic 9" descr="Snake">
              <a:extLst>
                <a:ext uri="{FF2B5EF4-FFF2-40B4-BE49-F238E27FC236}">
                  <a16:creationId xmlns:a16="http://schemas.microsoft.com/office/drawing/2014/main" id="{7C5E5996-E1F9-4F9B-BE2C-ECA47AB5A57E}"/>
                </a:ext>
              </a:extLst>
            </p:cNvPr>
            <p:cNvPicPr>
              <a:picLocks noChangeAspect="1"/>
            </p:cNvPicPr>
            <p:nvPr/>
          </p:nvPicPr>
          <p:blipFill rotWithShape="1">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rcRect l="-2" t="56027" r="47111"/>
            <a:stretch/>
          </p:blipFill>
          <p:spPr>
            <a:xfrm rot="7001259">
              <a:off x="297005" y="6680310"/>
              <a:ext cx="336423" cy="279713"/>
            </a:xfrm>
            <a:prstGeom prst="rect">
              <a:avLst/>
            </a:prstGeom>
          </p:spPr>
        </p:pic>
      </p:grpSp>
      <p:pic>
        <p:nvPicPr>
          <p:cNvPr id="5" name="Picture 4">
            <a:extLst>
              <a:ext uri="{FF2B5EF4-FFF2-40B4-BE49-F238E27FC236}">
                <a16:creationId xmlns:a16="http://schemas.microsoft.com/office/drawing/2014/main" id="{8A658A91-F327-480A-A0E9-651EED0127A9}"/>
              </a:ext>
            </a:extLst>
          </p:cNvPr>
          <p:cNvPicPr>
            <a:picLocks noChangeAspect="1"/>
          </p:cNvPicPr>
          <p:nvPr/>
        </p:nvPicPr>
        <p:blipFill>
          <a:blip r:embed="rId11">
            <a:clrChange>
              <a:clrFrom>
                <a:srgbClr val="FFFFFF"/>
              </a:clrFrom>
              <a:clrTo>
                <a:srgbClr val="FFFFFF">
                  <a:alpha val="0"/>
                </a:srgbClr>
              </a:clrTo>
            </a:clrChange>
          </a:blip>
          <a:stretch>
            <a:fillRect/>
          </a:stretch>
        </p:blipFill>
        <p:spPr>
          <a:xfrm>
            <a:off x="509108" y="2001061"/>
            <a:ext cx="10867427" cy="3285500"/>
          </a:xfrm>
          <a:prstGeom prst="rect">
            <a:avLst/>
          </a:prstGeom>
        </p:spPr>
      </p:pic>
    </p:spTree>
    <p:extLst>
      <p:ext uri="{BB962C8B-B14F-4D97-AF65-F5344CB8AC3E}">
        <p14:creationId xmlns:p14="http://schemas.microsoft.com/office/powerpoint/2010/main" val="124800473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9F9C243-F6F9-4217-BE94-EDB2B74004C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A9F9C243-F6F9-4217-BE94-EDB2B74004C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727749-65AB-4FAC-AC8A-78D01F343C6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400" b="1">
              <a:latin typeface="Calibri" panose="020F0502020204030204" pitchFamily="34" charset="0"/>
              <a:sym typeface="Calibri" panose="020F0502020204030204" pitchFamily="34" charset="0"/>
            </a:endParaRPr>
          </a:p>
        </p:txBody>
      </p:sp>
      <p:sp>
        <p:nvSpPr>
          <p:cNvPr id="9" name="TextBox 8">
            <a:extLst>
              <a:ext uri="{FF2B5EF4-FFF2-40B4-BE49-F238E27FC236}">
                <a16:creationId xmlns:a16="http://schemas.microsoft.com/office/drawing/2014/main" id="{9091F50D-EB45-46FF-9F95-4F903BBE2788}"/>
              </a:ext>
            </a:extLst>
          </p:cNvPr>
          <p:cNvSpPr txBox="1"/>
          <p:nvPr/>
        </p:nvSpPr>
        <p:spPr>
          <a:xfrm>
            <a:off x="472611" y="205483"/>
            <a:ext cx="10941978" cy="523220"/>
          </a:xfrm>
          <a:prstGeom prst="rect">
            <a:avLst/>
          </a:prstGeom>
          <a:noFill/>
        </p:spPr>
        <p:txBody>
          <a:bodyPr wrap="square" rtlCol="0">
            <a:spAutoFit/>
          </a:bodyPr>
          <a:lstStyle/>
          <a:p>
            <a:r>
              <a:rPr lang="en-US" sz="2800" b="1" dirty="0">
                <a:latin typeface="Georgia" panose="02040502050405020303" pitchFamily="18" charset="0"/>
              </a:rPr>
              <a:t>OPTIMIZATION – VALIDATION WITH EXCEL</a:t>
            </a:r>
          </a:p>
        </p:txBody>
      </p:sp>
      <p:grpSp>
        <p:nvGrpSpPr>
          <p:cNvPr id="6" name="Group 5">
            <a:extLst>
              <a:ext uri="{FF2B5EF4-FFF2-40B4-BE49-F238E27FC236}">
                <a16:creationId xmlns:a16="http://schemas.microsoft.com/office/drawing/2014/main" id="{5E30FEF6-5D45-45F5-987F-6B9AFF5208B1}"/>
              </a:ext>
            </a:extLst>
          </p:cNvPr>
          <p:cNvGrpSpPr/>
          <p:nvPr/>
        </p:nvGrpSpPr>
        <p:grpSpPr>
          <a:xfrm>
            <a:off x="-34366" y="6088478"/>
            <a:ext cx="12225995" cy="899900"/>
            <a:chOff x="-34366" y="6088478"/>
            <a:chExt cx="12225995" cy="899900"/>
          </a:xfrm>
        </p:grpSpPr>
        <p:sp>
          <p:nvSpPr>
            <p:cNvPr id="7" name="Rectangle 6">
              <a:extLst>
                <a:ext uri="{FF2B5EF4-FFF2-40B4-BE49-F238E27FC236}">
                  <a16:creationId xmlns:a16="http://schemas.microsoft.com/office/drawing/2014/main" id="{7743F998-A474-4BB6-8A16-00CA42D29A3D}"/>
                </a:ext>
              </a:extLst>
            </p:cNvPr>
            <p:cNvSpPr/>
            <p:nvPr/>
          </p:nvSpPr>
          <p:spPr>
            <a:xfrm>
              <a:off x="400050" y="6812280"/>
              <a:ext cx="11791579" cy="4572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a:t>
              </a:r>
            </a:p>
          </p:txBody>
        </p:sp>
        <p:pic>
          <p:nvPicPr>
            <p:cNvPr id="8" name="Graphic 7" descr="Toothpaste">
              <a:extLst>
                <a:ext uri="{FF2B5EF4-FFF2-40B4-BE49-F238E27FC236}">
                  <a16:creationId xmlns:a16="http://schemas.microsoft.com/office/drawing/2014/main" id="{1E3381BB-96CC-4D37-A4A0-D8048984A27A}"/>
                </a:ext>
              </a:extLst>
            </p:cNvPr>
            <p:cNvPicPr>
              <a:picLocks noChangeAspect="1"/>
            </p:cNvPicPr>
            <p:nvPr/>
          </p:nvPicPr>
          <p:blipFill>
            <a:blip r:embed="rId7" cstate="hq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6219692">
              <a:off x="-34366" y="6088478"/>
              <a:ext cx="598153" cy="598153"/>
            </a:xfrm>
            <a:prstGeom prst="rect">
              <a:avLst/>
            </a:prstGeom>
          </p:spPr>
        </p:pic>
        <p:pic>
          <p:nvPicPr>
            <p:cNvPr id="10" name="Graphic 9" descr="Snake">
              <a:extLst>
                <a:ext uri="{FF2B5EF4-FFF2-40B4-BE49-F238E27FC236}">
                  <a16:creationId xmlns:a16="http://schemas.microsoft.com/office/drawing/2014/main" id="{7C5E5996-E1F9-4F9B-BE2C-ECA47AB5A57E}"/>
                </a:ext>
              </a:extLst>
            </p:cNvPr>
            <p:cNvPicPr>
              <a:picLocks noChangeAspect="1"/>
            </p:cNvPicPr>
            <p:nvPr/>
          </p:nvPicPr>
          <p:blipFill rotWithShape="1">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rcRect l="-2" t="56027" r="47111"/>
            <a:stretch/>
          </p:blipFill>
          <p:spPr>
            <a:xfrm rot="7001259">
              <a:off x="297005" y="6680310"/>
              <a:ext cx="336423" cy="279713"/>
            </a:xfrm>
            <a:prstGeom prst="rect">
              <a:avLst/>
            </a:prstGeom>
          </p:spPr>
        </p:pic>
      </p:grpSp>
      <p:pic>
        <p:nvPicPr>
          <p:cNvPr id="11" name="Picture 10">
            <a:extLst>
              <a:ext uri="{FF2B5EF4-FFF2-40B4-BE49-F238E27FC236}">
                <a16:creationId xmlns:a16="http://schemas.microsoft.com/office/drawing/2014/main" id="{BE54D1FA-E883-4DB2-9C7B-B24C9565EA15}"/>
              </a:ext>
            </a:extLst>
          </p:cNvPr>
          <p:cNvPicPr>
            <a:picLocks noChangeAspect="1"/>
          </p:cNvPicPr>
          <p:nvPr/>
        </p:nvPicPr>
        <p:blipFill>
          <a:blip r:embed="rId11"/>
          <a:stretch>
            <a:fillRect/>
          </a:stretch>
        </p:blipFill>
        <p:spPr>
          <a:xfrm>
            <a:off x="2627440" y="1902442"/>
            <a:ext cx="6632319" cy="2247626"/>
          </a:xfrm>
          <a:prstGeom prst="rect">
            <a:avLst/>
          </a:prstGeom>
        </p:spPr>
      </p:pic>
    </p:spTree>
    <p:extLst>
      <p:ext uri="{BB962C8B-B14F-4D97-AF65-F5344CB8AC3E}">
        <p14:creationId xmlns:p14="http://schemas.microsoft.com/office/powerpoint/2010/main" val="327482228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ight Triangle 4">
            <a:extLst>
              <a:ext uri="{FF2B5EF4-FFF2-40B4-BE49-F238E27FC236}">
                <a16:creationId xmlns:a16="http://schemas.microsoft.com/office/drawing/2014/main" id="{0230B4A8-42BC-44F2-8424-DB025E09840C}"/>
              </a:ext>
            </a:extLst>
          </p:cNvPr>
          <p:cNvSpPr/>
          <p:nvPr/>
        </p:nvSpPr>
        <p:spPr>
          <a:xfrm flipH="1">
            <a:off x="4928838" y="0"/>
            <a:ext cx="7263161" cy="6857999"/>
          </a:xfrm>
          <a:prstGeom prst="rtTriangl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rapezoid 5">
            <a:extLst>
              <a:ext uri="{FF2B5EF4-FFF2-40B4-BE49-F238E27FC236}">
                <a16:creationId xmlns:a16="http://schemas.microsoft.com/office/drawing/2014/main" id="{362A30F9-E859-4834-8C11-58A839DCC689}"/>
              </a:ext>
            </a:extLst>
          </p:cNvPr>
          <p:cNvSpPr/>
          <p:nvPr/>
        </p:nvSpPr>
        <p:spPr>
          <a:xfrm>
            <a:off x="3962400" y="0"/>
            <a:ext cx="7824440" cy="6857999"/>
          </a:xfrm>
          <a:prstGeom prst="trapezoid">
            <a:avLst>
              <a:gd name="adj" fmla="val 64309"/>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Isosceles Triangle 7">
            <a:extLst>
              <a:ext uri="{FF2B5EF4-FFF2-40B4-BE49-F238E27FC236}">
                <a16:creationId xmlns:a16="http://schemas.microsoft.com/office/drawing/2014/main" id="{26ACC312-B3EF-4D95-836D-2893E512D694}"/>
              </a:ext>
            </a:extLst>
          </p:cNvPr>
          <p:cNvSpPr/>
          <p:nvPr/>
        </p:nvSpPr>
        <p:spPr>
          <a:xfrm flipV="1">
            <a:off x="7874000" y="-2"/>
            <a:ext cx="4317999" cy="2865864"/>
          </a:xfrm>
          <a:prstGeom prst="triangle">
            <a:avLst>
              <a:gd name="adj" fmla="val 37959"/>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B193A39B-8E2C-4D91-94F8-99E2573FF0D1}"/>
              </a:ext>
            </a:extLst>
          </p:cNvPr>
          <p:cNvSpPr/>
          <p:nvPr/>
        </p:nvSpPr>
        <p:spPr>
          <a:xfrm>
            <a:off x="3078480" y="3745043"/>
            <a:ext cx="1805305" cy="612925"/>
          </a:xfrm>
          <a:prstGeom prst="rect">
            <a:avLst/>
          </a:prstGeom>
        </p:spPr>
        <p:txBody>
          <a:bodyPr wrap="square" lIns="0" tIns="0" rIns="0" bIns="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42900" indent="-342900">
              <a:lnSpc>
                <a:spcPct val="150000"/>
              </a:lnSpc>
              <a:buAutoNum type="arabicPeriod"/>
            </a:pPr>
            <a:endParaRPr lang="en-US" sz="1400">
              <a:solidFill>
                <a:schemeClr val="bg1"/>
              </a:solidFill>
              <a:cs typeface="Segoe UI" panose="020B0502040204020203" pitchFamily="34" charset="0"/>
            </a:endParaRPr>
          </a:p>
          <a:p>
            <a:pPr marL="342900" indent="-342900">
              <a:lnSpc>
                <a:spcPct val="150000"/>
              </a:lnSpc>
              <a:buAutoNum type="arabicPeriod"/>
            </a:pPr>
            <a:endParaRPr lang="en-US" sz="1400">
              <a:solidFill>
                <a:schemeClr val="bg1"/>
              </a:solidFill>
              <a:cs typeface="Segoe UI" panose="020B0502040204020203" pitchFamily="34" charset="0"/>
            </a:endParaRPr>
          </a:p>
        </p:txBody>
      </p:sp>
      <p:grpSp>
        <p:nvGrpSpPr>
          <p:cNvPr id="7" name="Group 6">
            <a:extLst>
              <a:ext uri="{FF2B5EF4-FFF2-40B4-BE49-F238E27FC236}">
                <a16:creationId xmlns:a16="http://schemas.microsoft.com/office/drawing/2014/main" id="{67793883-0F37-43F2-9087-CA02D76CBAA0}"/>
              </a:ext>
            </a:extLst>
          </p:cNvPr>
          <p:cNvGrpSpPr/>
          <p:nvPr/>
        </p:nvGrpSpPr>
        <p:grpSpPr>
          <a:xfrm>
            <a:off x="9200020" y="1355491"/>
            <a:ext cx="2188782" cy="4663440"/>
            <a:chOff x="9342265" y="1355491"/>
            <a:chExt cx="2188782" cy="4663440"/>
          </a:xfrm>
        </p:grpSpPr>
        <p:sp>
          <p:nvSpPr>
            <p:cNvPr id="9" name="Trapezoid 8">
              <a:extLst>
                <a:ext uri="{FF2B5EF4-FFF2-40B4-BE49-F238E27FC236}">
                  <a16:creationId xmlns:a16="http://schemas.microsoft.com/office/drawing/2014/main" id="{DC39A7A0-6C1B-49A1-94F7-A53FF216120E}"/>
                </a:ext>
                <a:ext uri="{C183D7F6-B498-43B3-948B-1728B52AA6E4}">
                  <adec:decorative xmlns:adec="http://schemas.microsoft.com/office/drawing/2017/decorative" val="1"/>
                </a:ext>
              </a:extLst>
            </p:cNvPr>
            <p:cNvSpPr/>
            <p:nvPr/>
          </p:nvSpPr>
          <p:spPr>
            <a:xfrm rot="5400000">
              <a:off x="8130516" y="2664868"/>
              <a:ext cx="4663440" cy="2044685"/>
            </a:xfrm>
            <a:prstGeom prst="trapezoid">
              <a:avLst/>
            </a:prstGeom>
            <a:solidFill>
              <a:srgbClr val="26859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83" name="Freeform 4346" descr="Icon of box and whisker chart. ">
              <a:extLst>
                <a:ext uri="{FF2B5EF4-FFF2-40B4-BE49-F238E27FC236}">
                  <a16:creationId xmlns:a16="http://schemas.microsoft.com/office/drawing/2014/main" id="{67DDE511-F302-4A09-9D28-47632514695C}"/>
                </a:ext>
              </a:extLst>
            </p:cNvPr>
            <p:cNvSpPr>
              <a:spLocks noEditPoints="1"/>
            </p:cNvSpPr>
            <p:nvPr/>
          </p:nvSpPr>
          <p:spPr bwMode="auto">
            <a:xfrm>
              <a:off x="9837129" y="2975754"/>
              <a:ext cx="1199054" cy="1199054"/>
            </a:xfrm>
            <a:custGeom>
              <a:avLst/>
              <a:gdLst>
                <a:gd name="T0" fmla="*/ 706 w 898"/>
                <a:gd name="T1" fmla="*/ 479 h 898"/>
                <a:gd name="T2" fmla="*/ 652 w 898"/>
                <a:gd name="T3" fmla="*/ 556 h 898"/>
                <a:gd name="T4" fmla="*/ 632 w 898"/>
                <a:gd name="T5" fmla="*/ 551 h 898"/>
                <a:gd name="T6" fmla="*/ 576 w 898"/>
                <a:gd name="T7" fmla="*/ 477 h 898"/>
                <a:gd name="T8" fmla="*/ 571 w 898"/>
                <a:gd name="T9" fmla="*/ 398 h 898"/>
                <a:gd name="T10" fmla="*/ 628 w 898"/>
                <a:gd name="T11" fmla="*/ 129 h 898"/>
                <a:gd name="T12" fmla="*/ 643 w 898"/>
                <a:gd name="T13" fmla="*/ 114 h 898"/>
                <a:gd name="T14" fmla="*/ 658 w 898"/>
                <a:gd name="T15" fmla="*/ 129 h 898"/>
                <a:gd name="T16" fmla="*/ 717 w 898"/>
                <a:gd name="T17" fmla="*/ 398 h 898"/>
                <a:gd name="T18" fmla="*/ 621 w 898"/>
                <a:gd name="T19" fmla="*/ 758 h 898"/>
                <a:gd name="T20" fmla="*/ 589 w 898"/>
                <a:gd name="T21" fmla="*/ 727 h 898"/>
                <a:gd name="T22" fmla="*/ 589 w 898"/>
                <a:gd name="T23" fmla="*/ 680 h 898"/>
                <a:gd name="T24" fmla="*/ 621 w 898"/>
                <a:gd name="T25" fmla="*/ 648 h 898"/>
                <a:gd name="T26" fmla="*/ 667 w 898"/>
                <a:gd name="T27" fmla="*/ 648 h 898"/>
                <a:gd name="T28" fmla="*/ 699 w 898"/>
                <a:gd name="T29" fmla="*/ 680 h 898"/>
                <a:gd name="T30" fmla="*/ 699 w 898"/>
                <a:gd name="T31" fmla="*/ 727 h 898"/>
                <a:gd name="T32" fmla="*/ 667 w 898"/>
                <a:gd name="T33" fmla="*/ 758 h 898"/>
                <a:gd name="T34" fmla="*/ 536 w 898"/>
                <a:gd name="T35" fmla="*/ 294 h 898"/>
                <a:gd name="T36" fmla="*/ 479 w 898"/>
                <a:gd name="T37" fmla="*/ 546 h 898"/>
                <a:gd name="T38" fmla="*/ 461 w 898"/>
                <a:gd name="T39" fmla="*/ 558 h 898"/>
                <a:gd name="T40" fmla="*/ 450 w 898"/>
                <a:gd name="T41" fmla="*/ 299 h 898"/>
                <a:gd name="T42" fmla="*/ 390 w 898"/>
                <a:gd name="T43" fmla="*/ 287 h 898"/>
                <a:gd name="T44" fmla="*/ 398 w 898"/>
                <a:gd name="T45" fmla="*/ 211 h 898"/>
                <a:gd name="T46" fmla="*/ 454 w 898"/>
                <a:gd name="T47" fmla="*/ 118 h 898"/>
                <a:gd name="T48" fmla="*/ 475 w 898"/>
                <a:gd name="T49" fmla="*/ 118 h 898"/>
                <a:gd name="T50" fmla="*/ 530 w 898"/>
                <a:gd name="T51" fmla="*/ 211 h 898"/>
                <a:gd name="T52" fmla="*/ 465 w 898"/>
                <a:gd name="T53" fmla="*/ 763 h 898"/>
                <a:gd name="T54" fmla="*/ 422 w 898"/>
                <a:gd name="T55" fmla="*/ 745 h 898"/>
                <a:gd name="T56" fmla="*/ 405 w 898"/>
                <a:gd name="T57" fmla="*/ 703 h 898"/>
                <a:gd name="T58" fmla="*/ 422 w 898"/>
                <a:gd name="T59" fmla="*/ 661 h 898"/>
                <a:gd name="T60" fmla="*/ 465 w 898"/>
                <a:gd name="T61" fmla="*/ 643 h 898"/>
                <a:gd name="T62" fmla="*/ 506 w 898"/>
                <a:gd name="T63" fmla="*/ 661 h 898"/>
                <a:gd name="T64" fmla="*/ 525 w 898"/>
                <a:gd name="T65" fmla="*/ 703 h 898"/>
                <a:gd name="T66" fmla="*/ 506 w 898"/>
                <a:gd name="T67" fmla="*/ 745 h 898"/>
                <a:gd name="T68" fmla="*/ 465 w 898"/>
                <a:gd name="T69" fmla="*/ 763 h 898"/>
                <a:gd name="T70" fmla="*/ 318 w 898"/>
                <a:gd name="T71" fmla="*/ 419 h 898"/>
                <a:gd name="T72" fmla="*/ 263 w 898"/>
                <a:gd name="T73" fmla="*/ 556 h 898"/>
                <a:gd name="T74" fmla="*/ 242 w 898"/>
                <a:gd name="T75" fmla="*/ 551 h 898"/>
                <a:gd name="T76" fmla="*/ 186 w 898"/>
                <a:gd name="T77" fmla="*/ 417 h 898"/>
                <a:gd name="T78" fmla="*/ 181 w 898"/>
                <a:gd name="T79" fmla="*/ 339 h 898"/>
                <a:gd name="T80" fmla="*/ 240 w 898"/>
                <a:gd name="T81" fmla="*/ 129 h 898"/>
                <a:gd name="T82" fmla="*/ 255 w 898"/>
                <a:gd name="T83" fmla="*/ 114 h 898"/>
                <a:gd name="T84" fmla="*/ 270 w 898"/>
                <a:gd name="T85" fmla="*/ 129 h 898"/>
                <a:gd name="T86" fmla="*/ 329 w 898"/>
                <a:gd name="T87" fmla="*/ 339 h 898"/>
                <a:gd name="T88" fmla="*/ 231 w 898"/>
                <a:gd name="T89" fmla="*/ 758 h 898"/>
                <a:gd name="T90" fmla="*/ 200 w 898"/>
                <a:gd name="T91" fmla="*/ 727 h 898"/>
                <a:gd name="T92" fmla="*/ 200 w 898"/>
                <a:gd name="T93" fmla="*/ 680 h 898"/>
                <a:gd name="T94" fmla="*/ 231 w 898"/>
                <a:gd name="T95" fmla="*/ 648 h 898"/>
                <a:gd name="T96" fmla="*/ 278 w 898"/>
                <a:gd name="T97" fmla="*/ 648 h 898"/>
                <a:gd name="T98" fmla="*/ 311 w 898"/>
                <a:gd name="T99" fmla="*/ 680 h 898"/>
                <a:gd name="T100" fmla="*/ 311 w 898"/>
                <a:gd name="T101" fmla="*/ 727 h 898"/>
                <a:gd name="T102" fmla="*/ 278 w 898"/>
                <a:gd name="T103" fmla="*/ 758 h 898"/>
                <a:gd name="T104" fmla="*/ 10 w 898"/>
                <a:gd name="T105" fmla="*/ 2 h 898"/>
                <a:gd name="T106" fmla="*/ 1 w 898"/>
                <a:gd name="T107" fmla="*/ 886 h 898"/>
                <a:gd name="T108" fmla="*/ 883 w 898"/>
                <a:gd name="T109" fmla="*/ 898 h 898"/>
                <a:gd name="T110" fmla="*/ 898 w 898"/>
                <a:gd name="T111" fmla="*/ 883 h 898"/>
                <a:gd name="T112" fmla="*/ 886 w 898"/>
                <a:gd name="T113" fmla="*/ 0 h 8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98" h="898">
                  <a:moveTo>
                    <a:pt x="718" y="464"/>
                  </a:moveTo>
                  <a:lnTo>
                    <a:pt x="718" y="467"/>
                  </a:lnTo>
                  <a:lnTo>
                    <a:pt x="717" y="470"/>
                  </a:lnTo>
                  <a:lnTo>
                    <a:pt x="716" y="472"/>
                  </a:lnTo>
                  <a:lnTo>
                    <a:pt x="714" y="474"/>
                  </a:lnTo>
                  <a:lnTo>
                    <a:pt x="712" y="477"/>
                  </a:lnTo>
                  <a:lnTo>
                    <a:pt x="710" y="478"/>
                  </a:lnTo>
                  <a:lnTo>
                    <a:pt x="706" y="479"/>
                  </a:lnTo>
                  <a:lnTo>
                    <a:pt x="703" y="479"/>
                  </a:lnTo>
                  <a:lnTo>
                    <a:pt x="658" y="479"/>
                  </a:lnTo>
                  <a:lnTo>
                    <a:pt x="658" y="543"/>
                  </a:lnTo>
                  <a:lnTo>
                    <a:pt x="658" y="546"/>
                  </a:lnTo>
                  <a:lnTo>
                    <a:pt x="657" y="549"/>
                  </a:lnTo>
                  <a:lnTo>
                    <a:pt x="656" y="551"/>
                  </a:lnTo>
                  <a:lnTo>
                    <a:pt x="654" y="554"/>
                  </a:lnTo>
                  <a:lnTo>
                    <a:pt x="652" y="556"/>
                  </a:lnTo>
                  <a:lnTo>
                    <a:pt x="650" y="557"/>
                  </a:lnTo>
                  <a:lnTo>
                    <a:pt x="647" y="558"/>
                  </a:lnTo>
                  <a:lnTo>
                    <a:pt x="643" y="558"/>
                  </a:lnTo>
                  <a:lnTo>
                    <a:pt x="641" y="558"/>
                  </a:lnTo>
                  <a:lnTo>
                    <a:pt x="638" y="557"/>
                  </a:lnTo>
                  <a:lnTo>
                    <a:pt x="636" y="556"/>
                  </a:lnTo>
                  <a:lnTo>
                    <a:pt x="634" y="554"/>
                  </a:lnTo>
                  <a:lnTo>
                    <a:pt x="632" y="551"/>
                  </a:lnTo>
                  <a:lnTo>
                    <a:pt x="631" y="549"/>
                  </a:lnTo>
                  <a:lnTo>
                    <a:pt x="629" y="546"/>
                  </a:lnTo>
                  <a:lnTo>
                    <a:pt x="628" y="543"/>
                  </a:lnTo>
                  <a:lnTo>
                    <a:pt x="628" y="479"/>
                  </a:lnTo>
                  <a:lnTo>
                    <a:pt x="583" y="479"/>
                  </a:lnTo>
                  <a:lnTo>
                    <a:pt x="581" y="479"/>
                  </a:lnTo>
                  <a:lnTo>
                    <a:pt x="578" y="478"/>
                  </a:lnTo>
                  <a:lnTo>
                    <a:pt x="576" y="477"/>
                  </a:lnTo>
                  <a:lnTo>
                    <a:pt x="574" y="474"/>
                  </a:lnTo>
                  <a:lnTo>
                    <a:pt x="572" y="472"/>
                  </a:lnTo>
                  <a:lnTo>
                    <a:pt x="571" y="470"/>
                  </a:lnTo>
                  <a:lnTo>
                    <a:pt x="570" y="467"/>
                  </a:lnTo>
                  <a:lnTo>
                    <a:pt x="570" y="464"/>
                  </a:lnTo>
                  <a:lnTo>
                    <a:pt x="570" y="404"/>
                  </a:lnTo>
                  <a:lnTo>
                    <a:pt x="570" y="402"/>
                  </a:lnTo>
                  <a:lnTo>
                    <a:pt x="571" y="398"/>
                  </a:lnTo>
                  <a:lnTo>
                    <a:pt x="572" y="396"/>
                  </a:lnTo>
                  <a:lnTo>
                    <a:pt x="574" y="394"/>
                  </a:lnTo>
                  <a:lnTo>
                    <a:pt x="576" y="392"/>
                  </a:lnTo>
                  <a:lnTo>
                    <a:pt x="578" y="391"/>
                  </a:lnTo>
                  <a:lnTo>
                    <a:pt x="581" y="390"/>
                  </a:lnTo>
                  <a:lnTo>
                    <a:pt x="583" y="389"/>
                  </a:lnTo>
                  <a:lnTo>
                    <a:pt x="628" y="389"/>
                  </a:lnTo>
                  <a:lnTo>
                    <a:pt x="628" y="129"/>
                  </a:lnTo>
                  <a:lnTo>
                    <a:pt x="629" y="126"/>
                  </a:lnTo>
                  <a:lnTo>
                    <a:pt x="631" y="123"/>
                  </a:lnTo>
                  <a:lnTo>
                    <a:pt x="632" y="121"/>
                  </a:lnTo>
                  <a:lnTo>
                    <a:pt x="634" y="118"/>
                  </a:lnTo>
                  <a:lnTo>
                    <a:pt x="636" y="117"/>
                  </a:lnTo>
                  <a:lnTo>
                    <a:pt x="638" y="115"/>
                  </a:lnTo>
                  <a:lnTo>
                    <a:pt x="641" y="114"/>
                  </a:lnTo>
                  <a:lnTo>
                    <a:pt x="643" y="114"/>
                  </a:lnTo>
                  <a:lnTo>
                    <a:pt x="647" y="114"/>
                  </a:lnTo>
                  <a:lnTo>
                    <a:pt x="650" y="115"/>
                  </a:lnTo>
                  <a:lnTo>
                    <a:pt x="652" y="117"/>
                  </a:lnTo>
                  <a:lnTo>
                    <a:pt x="654" y="118"/>
                  </a:lnTo>
                  <a:lnTo>
                    <a:pt x="656" y="121"/>
                  </a:lnTo>
                  <a:lnTo>
                    <a:pt x="657" y="123"/>
                  </a:lnTo>
                  <a:lnTo>
                    <a:pt x="658" y="127"/>
                  </a:lnTo>
                  <a:lnTo>
                    <a:pt x="658" y="129"/>
                  </a:lnTo>
                  <a:lnTo>
                    <a:pt x="658" y="389"/>
                  </a:lnTo>
                  <a:lnTo>
                    <a:pt x="703" y="389"/>
                  </a:lnTo>
                  <a:lnTo>
                    <a:pt x="706" y="390"/>
                  </a:lnTo>
                  <a:lnTo>
                    <a:pt x="710" y="391"/>
                  </a:lnTo>
                  <a:lnTo>
                    <a:pt x="712" y="392"/>
                  </a:lnTo>
                  <a:lnTo>
                    <a:pt x="714" y="394"/>
                  </a:lnTo>
                  <a:lnTo>
                    <a:pt x="716" y="396"/>
                  </a:lnTo>
                  <a:lnTo>
                    <a:pt x="717" y="398"/>
                  </a:lnTo>
                  <a:lnTo>
                    <a:pt x="718" y="402"/>
                  </a:lnTo>
                  <a:lnTo>
                    <a:pt x="718" y="404"/>
                  </a:lnTo>
                  <a:lnTo>
                    <a:pt x="718" y="464"/>
                  </a:lnTo>
                  <a:close/>
                  <a:moveTo>
                    <a:pt x="643" y="763"/>
                  </a:moveTo>
                  <a:lnTo>
                    <a:pt x="638" y="762"/>
                  </a:lnTo>
                  <a:lnTo>
                    <a:pt x="632" y="762"/>
                  </a:lnTo>
                  <a:lnTo>
                    <a:pt x="626" y="760"/>
                  </a:lnTo>
                  <a:lnTo>
                    <a:pt x="621" y="758"/>
                  </a:lnTo>
                  <a:lnTo>
                    <a:pt x="616" y="756"/>
                  </a:lnTo>
                  <a:lnTo>
                    <a:pt x="610" y="753"/>
                  </a:lnTo>
                  <a:lnTo>
                    <a:pt x="606" y="749"/>
                  </a:lnTo>
                  <a:lnTo>
                    <a:pt x="602" y="745"/>
                  </a:lnTo>
                  <a:lnTo>
                    <a:pt x="597" y="741"/>
                  </a:lnTo>
                  <a:lnTo>
                    <a:pt x="594" y="737"/>
                  </a:lnTo>
                  <a:lnTo>
                    <a:pt x="591" y="731"/>
                  </a:lnTo>
                  <a:lnTo>
                    <a:pt x="589" y="727"/>
                  </a:lnTo>
                  <a:lnTo>
                    <a:pt x="587" y="720"/>
                  </a:lnTo>
                  <a:lnTo>
                    <a:pt x="586" y="715"/>
                  </a:lnTo>
                  <a:lnTo>
                    <a:pt x="584" y="710"/>
                  </a:lnTo>
                  <a:lnTo>
                    <a:pt x="583" y="703"/>
                  </a:lnTo>
                  <a:lnTo>
                    <a:pt x="584" y="697"/>
                  </a:lnTo>
                  <a:lnTo>
                    <a:pt x="586" y="692"/>
                  </a:lnTo>
                  <a:lnTo>
                    <a:pt x="587" y="685"/>
                  </a:lnTo>
                  <a:lnTo>
                    <a:pt x="589" y="680"/>
                  </a:lnTo>
                  <a:lnTo>
                    <a:pt x="591" y="674"/>
                  </a:lnTo>
                  <a:lnTo>
                    <a:pt x="594" y="670"/>
                  </a:lnTo>
                  <a:lnTo>
                    <a:pt x="597" y="665"/>
                  </a:lnTo>
                  <a:lnTo>
                    <a:pt x="602" y="661"/>
                  </a:lnTo>
                  <a:lnTo>
                    <a:pt x="606" y="657"/>
                  </a:lnTo>
                  <a:lnTo>
                    <a:pt x="610" y="653"/>
                  </a:lnTo>
                  <a:lnTo>
                    <a:pt x="616" y="651"/>
                  </a:lnTo>
                  <a:lnTo>
                    <a:pt x="621" y="648"/>
                  </a:lnTo>
                  <a:lnTo>
                    <a:pt x="626" y="646"/>
                  </a:lnTo>
                  <a:lnTo>
                    <a:pt x="632" y="645"/>
                  </a:lnTo>
                  <a:lnTo>
                    <a:pt x="638" y="643"/>
                  </a:lnTo>
                  <a:lnTo>
                    <a:pt x="643" y="643"/>
                  </a:lnTo>
                  <a:lnTo>
                    <a:pt x="650" y="643"/>
                  </a:lnTo>
                  <a:lnTo>
                    <a:pt x="656" y="645"/>
                  </a:lnTo>
                  <a:lnTo>
                    <a:pt x="662" y="646"/>
                  </a:lnTo>
                  <a:lnTo>
                    <a:pt x="667" y="648"/>
                  </a:lnTo>
                  <a:lnTo>
                    <a:pt x="672" y="651"/>
                  </a:lnTo>
                  <a:lnTo>
                    <a:pt x="678" y="653"/>
                  </a:lnTo>
                  <a:lnTo>
                    <a:pt x="682" y="657"/>
                  </a:lnTo>
                  <a:lnTo>
                    <a:pt x="686" y="661"/>
                  </a:lnTo>
                  <a:lnTo>
                    <a:pt x="690" y="665"/>
                  </a:lnTo>
                  <a:lnTo>
                    <a:pt x="694" y="670"/>
                  </a:lnTo>
                  <a:lnTo>
                    <a:pt x="697" y="674"/>
                  </a:lnTo>
                  <a:lnTo>
                    <a:pt x="699" y="680"/>
                  </a:lnTo>
                  <a:lnTo>
                    <a:pt x="701" y="685"/>
                  </a:lnTo>
                  <a:lnTo>
                    <a:pt x="702" y="692"/>
                  </a:lnTo>
                  <a:lnTo>
                    <a:pt x="703" y="697"/>
                  </a:lnTo>
                  <a:lnTo>
                    <a:pt x="703" y="703"/>
                  </a:lnTo>
                  <a:lnTo>
                    <a:pt x="703" y="710"/>
                  </a:lnTo>
                  <a:lnTo>
                    <a:pt x="702" y="715"/>
                  </a:lnTo>
                  <a:lnTo>
                    <a:pt x="701" y="720"/>
                  </a:lnTo>
                  <a:lnTo>
                    <a:pt x="699" y="727"/>
                  </a:lnTo>
                  <a:lnTo>
                    <a:pt x="697" y="731"/>
                  </a:lnTo>
                  <a:lnTo>
                    <a:pt x="694" y="737"/>
                  </a:lnTo>
                  <a:lnTo>
                    <a:pt x="690" y="741"/>
                  </a:lnTo>
                  <a:lnTo>
                    <a:pt x="686" y="745"/>
                  </a:lnTo>
                  <a:lnTo>
                    <a:pt x="682" y="749"/>
                  </a:lnTo>
                  <a:lnTo>
                    <a:pt x="678" y="753"/>
                  </a:lnTo>
                  <a:lnTo>
                    <a:pt x="672" y="756"/>
                  </a:lnTo>
                  <a:lnTo>
                    <a:pt x="667" y="758"/>
                  </a:lnTo>
                  <a:lnTo>
                    <a:pt x="662" y="760"/>
                  </a:lnTo>
                  <a:lnTo>
                    <a:pt x="656" y="762"/>
                  </a:lnTo>
                  <a:lnTo>
                    <a:pt x="650" y="762"/>
                  </a:lnTo>
                  <a:lnTo>
                    <a:pt x="643" y="763"/>
                  </a:lnTo>
                  <a:close/>
                  <a:moveTo>
                    <a:pt x="540" y="284"/>
                  </a:moveTo>
                  <a:lnTo>
                    <a:pt x="538" y="287"/>
                  </a:lnTo>
                  <a:lnTo>
                    <a:pt x="537" y="290"/>
                  </a:lnTo>
                  <a:lnTo>
                    <a:pt x="536" y="294"/>
                  </a:lnTo>
                  <a:lnTo>
                    <a:pt x="534" y="296"/>
                  </a:lnTo>
                  <a:lnTo>
                    <a:pt x="532" y="297"/>
                  </a:lnTo>
                  <a:lnTo>
                    <a:pt x="530" y="298"/>
                  </a:lnTo>
                  <a:lnTo>
                    <a:pt x="527" y="299"/>
                  </a:lnTo>
                  <a:lnTo>
                    <a:pt x="525" y="299"/>
                  </a:lnTo>
                  <a:lnTo>
                    <a:pt x="480" y="299"/>
                  </a:lnTo>
                  <a:lnTo>
                    <a:pt x="480" y="543"/>
                  </a:lnTo>
                  <a:lnTo>
                    <a:pt x="479" y="546"/>
                  </a:lnTo>
                  <a:lnTo>
                    <a:pt x="479" y="549"/>
                  </a:lnTo>
                  <a:lnTo>
                    <a:pt x="476" y="551"/>
                  </a:lnTo>
                  <a:lnTo>
                    <a:pt x="475" y="554"/>
                  </a:lnTo>
                  <a:lnTo>
                    <a:pt x="472" y="556"/>
                  </a:lnTo>
                  <a:lnTo>
                    <a:pt x="470" y="557"/>
                  </a:lnTo>
                  <a:lnTo>
                    <a:pt x="467" y="558"/>
                  </a:lnTo>
                  <a:lnTo>
                    <a:pt x="465" y="558"/>
                  </a:lnTo>
                  <a:lnTo>
                    <a:pt x="461" y="558"/>
                  </a:lnTo>
                  <a:lnTo>
                    <a:pt x="458" y="557"/>
                  </a:lnTo>
                  <a:lnTo>
                    <a:pt x="456" y="556"/>
                  </a:lnTo>
                  <a:lnTo>
                    <a:pt x="454" y="554"/>
                  </a:lnTo>
                  <a:lnTo>
                    <a:pt x="452" y="551"/>
                  </a:lnTo>
                  <a:lnTo>
                    <a:pt x="451" y="549"/>
                  </a:lnTo>
                  <a:lnTo>
                    <a:pt x="450" y="546"/>
                  </a:lnTo>
                  <a:lnTo>
                    <a:pt x="450" y="543"/>
                  </a:lnTo>
                  <a:lnTo>
                    <a:pt x="450" y="299"/>
                  </a:lnTo>
                  <a:lnTo>
                    <a:pt x="405" y="299"/>
                  </a:lnTo>
                  <a:lnTo>
                    <a:pt x="402" y="299"/>
                  </a:lnTo>
                  <a:lnTo>
                    <a:pt x="398" y="298"/>
                  </a:lnTo>
                  <a:lnTo>
                    <a:pt x="396" y="297"/>
                  </a:lnTo>
                  <a:lnTo>
                    <a:pt x="394" y="296"/>
                  </a:lnTo>
                  <a:lnTo>
                    <a:pt x="392" y="294"/>
                  </a:lnTo>
                  <a:lnTo>
                    <a:pt x="391" y="290"/>
                  </a:lnTo>
                  <a:lnTo>
                    <a:pt x="390" y="287"/>
                  </a:lnTo>
                  <a:lnTo>
                    <a:pt x="390" y="284"/>
                  </a:lnTo>
                  <a:lnTo>
                    <a:pt x="390" y="225"/>
                  </a:lnTo>
                  <a:lnTo>
                    <a:pt x="390" y="222"/>
                  </a:lnTo>
                  <a:lnTo>
                    <a:pt x="391" y="219"/>
                  </a:lnTo>
                  <a:lnTo>
                    <a:pt x="392" y="217"/>
                  </a:lnTo>
                  <a:lnTo>
                    <a:pt x="394" y="214"/>
                  </a:lnTo>
                  <a:lnTo>
                    <a:pt x="396" y="212"/>
                  </a:lnTo>
                  <a:lnTo>
                    <a:pt x="398" y="211"/>
                  </a:lnTo>
                  <a:lnTo>
                    <a:pt x="402" y="210"/>
                  </a:lnTo>
                  <a:lnTo>
                    <a:pt x="405" y="210"/>
                  </a:lnTo>
                  <a:lnTo>
                    <a:pt x="450" y="210"/>
                  </a:lnTo>
                  <a:lnTo>
                    <a:pt x="450" y="129"/>
                  </a:lnTo>
                  <a:lnTo>
                    <a:pt x="450" y="126"/>
                  </a:lnTo>
                  <a:lnTo>
                    <a:pt x="451" y="123"/>
                  </a:lnTo>
                  <a:lnTo>
                    <a:pt x="452" y="121"/>
                  </a:lnTo>
                  <a:lnTo>
                    <a:pt x="454" y="118"/>
                  </a:lnTo>
                  <a:lnTo>
                    <a:pt x="456" y="117"/>
                  </a:lnTo>
                  <a:lnTo>
                    <a:pt x="458" y="115"/>
                  </a:lnTo>
                  <a:lnTo>
                    <a:pt x="461" y="114"/>
                  </a:lnTo>
                  <a:lnTo>
                    <a:pt x="465" y="114"/>
                  </a:lnTo>
                  <a:lnTo>
                    <a:pt x="467" y="114"/>
                  </a:lnTo>
                  <a:lnTo>
                    <a:pt x="470" y="115"/>
                  </a:lnTo>
                  <a:lnTo>
                    <a:pt x="472" y="117"/>
                  </a:lnTo>
                  <a:lnTo>
                    <a:pt x="475" y="118"/>
                  </a:lnTo>
                  <a:lnTo>
                    <a:pt x="476" y="121"/>
                  </a:lnTo>
                  <a:lnTo>
                    <a:pt x="479" y="123"/>
                  </a:lnTo>
                  <a:lnTo>
                    <a:pt x="479" y="127"/>
                  </a:lnTo>
                  <a:lnTo>
                    <a:pt x="480" y="129"/>
                  </a:lnTo>
                  <a:lnTo>
                    <a:pt x="480" y="210"/>
                  </a:lnTo>
                  <a:lnTo>
                    <a:pt x="525" y="210"/>
                  </a:lnTo>
                  <a:lnTo>
                    <a:pt x="527" y="210"/>
                  </a:lnTo>
                  <a:lnTo>
                    <a:pt x="530" y="211"/>
                  </a:lnTo>
                  <a:lnTo>
                    <a:pt x="532" y="212"/>
                  </a:lnTo>
                  <a:lnTo>
                    <a:pt x="534" y="214"/>
                  </a:lnTo>
                  <a:lnTo>
                    <a:pt x="536" y="217"/>
                  </a:lnTo>
                  <a:lnTo>
                    <a:pt x="537" y="219"/>
                  </a:lnTo>
                  <a:lnTo>
                    <a:pt x="538" y="222"/>
                  </a:lnTo>
                  <a:lnTo>
                    <a:pt x="540" y="225"/>
                  </a:lnTo>
                  <a:lnTo>
                    <a:pt x="540" y="284"/>
                  </a:lnTo>
                  <a:close/>
                  <a:moveTo>
                    <a:pt x="465" y="763"/>
                  </a:moveTo>
                  <a:lnTo>
                    <a:pt x="458" y="762"/>
                  </a:lnTo>
                  <a:lnTo>
                    <a:pt x="452" y="762"/>
                  </a:lnTo>
                  <a:lnTo>
                    <a:pt x="446" y="760"/>
                  </a:lnTo>
                  <a:lnTo>
                    <a:pt x="441" y="758"/>
                  </a:lnTo>
                  <a:lnTo>
                    <a:pt x="436" y="756"/>
                  </a:lnTo>
                  <a:lnTo>
                    <a:pt x="430" y="753"/>
                  </a:lnTo>
                  <a:lnTo>
                    <a:pt x="426" y="749"/>
                  </a:lnTo>
                  <a:lnTo>
                    <a:pt x="422" y="745"/>
                  </a:lnTo>
                  <a:lnTo>
                    <a:pt x="419" y="741"/>
                  </a:lnTo>
                  <a:lnTo>
                    <a:pt x="414" y="737"/>
                  </a:lnTo>
                  <a:lnTo>
                    <a:pt x="412" y="731"/>
                  </a:lnTo>
                  <a:lnTo>
                    <a:pt x="409" y="727"/>
                  </a:lnTo>
                  <a:lnTo>
                    <a:pt x="407" y="720"/>
                  </a:lnTo>
                  <a:lnTo>
                    <a:pt x="406" y="715"/>
                  </a:lnTo>
                  <a:lnTo>
                    <a:pt x="405" y="710"/>
                  </a:lnTo>
                  <a:lnTo>
                    <a:pt x="405" y="703"/>
                  </a:lnTo>
                  <a:lnTo>
                    <a:pt x="405" y="697"/>
                  </a:lnTo>
                  <a:lnTo>
                    <a:pt x="406" y="692"/>
                  </a:lnTo>
                  <a:lnTo>
                    <a:pt x="407" y="685"/>
                  </a:lnTo>
                  <a:lnTo>
                    <a:pt x="409" y="680"/>
                  </a:lnTo>
                  <a:lnTo>
                    <a:pt x="412" y="674"/>
                  </a:lnTo>
                  <a:lnTo>
                    <a:pt x="414" y="670"/>
                  </a:lnTo>
                  <a:lnTo>
                    <a:pt x="419" y="665"/>
                  </a:lnTo>
                  <a:lnTo>
                    <a:pt x="422" y="661"/>
                  </a:lnTo>
                  <a:lnTo>
                    <a:pt x="426" y="657"/>
                  </a:lnTo>
                  <a:lnTo>
                    <a:pt x="430" y="653"/>
                  </a:lnTo>
                  <a:lnTo>
                    <a:pt x="436" y="651"/>
                  </a:lnTo>
                  <a:lnTo>
                    <a:pt x="441" y="648"/>
                  </a:lnTo>
                  <a:lnTo>
                    <a:pt x="446" y="646"/>
                  </a:lnTo>
                  <a:lnTo>
                    <a:pt x="452" y="645"/>
                  </a:lnTo>
                  <a:lnTo>
                    <a:pt x="458" y="643"/>
                  </a:lnTo>
                  <a:lnTo>
                    <a:pt x="465" y="643"/>
                  </a:lnTo>
                  <a:lnTo>
                    <a:pt x="470" y="643"/>
                  </a:lnTo>
                  <a:lnTo>
                    <a:pt x="476" y="645"/>
                  </a:lnTo>
                  <a:lnTo>
                    <a:pt x="482" y="646"/>
                  </a:lnTo>
                  <a:lnTo>
                    <a:pt x="487" y="648"/>
                  </a:lnTo>
                  <a:lnTo>
                    <a:pt x="492" y="651"/>
                  </a:lnTo>
                  <a:lnTo>
                    <a:pt x="498" y="653"/>
                  </a:lnTo>
                  <a:lnTo>
                    <a:pt x="502" y="657"/>
                  </a:lnTo>
                  <a:lnTo>
                    <a:pt x="506" y="661"/>
                  </a:lnTo>
                  <a:lnTo>
                    <a:pt x="511" y="665"/>
                  </a:lnTo>
                  <a:lnTo>
                    <a:pt x="514" y="670"/>
                  </a:lnTo>
                  <a:lnTo>
                    <a:pt x="517" y="674"/>
                  </a:lnTo>
                  <a:lnTo>
                    <a:pt x="519" y="680"/>
                  </a:lnTo>
                  <a:lnTo>
                    <a:pt x="521" y="685"/>
                  </a:lnTo>
                  <a:lnTo>
                    <a:pt x="522" y="692"/>
                  </a:lnTo>
                  <a:lnTo>
                    <a:pt x="524" y="697"/>
                  </a:lnTo>
                  <a:lnTo>
                    <a:pt x="525" y="703"/>
                  </a:lnTo>
                  <a:lnTo>
                    <a:pt x="524" y="710"/>
                  </a:lnTo>
                  <a:lnTo>
                    <a:pt x="522" y="715"/>
                  </a:lnTo>
                  <a:lnTo>
                    <a:pt x="521" y="720"/>
                  </a:lnTo>
                  <a:lnTo>
                    <a:pt x="519" y="727"/>
                  </a:lnTo>
                  <a:lnTo>
                    <a:pt x="517" y="731"/>
                  </a:lnTo>
                  <a:lnTo>
                    <a:pt x="514" y="737"/>
                  </a:lnTo>
                  <a:lnTo>
                    <a:pt x="511" y="741"/>
                  </a:lnTo>
                  <a:lnTo>
                    <a:pt x="506" y="745"/>
                  </a:lnTo>
                  <a:lnTo>
                    <a:pt x="502" y="749"/>
                  </a:lnTo>
                  <a:lnTo>
                    <a:pt x="498" y="753"/>
                  </a:lnTo>
                  <a:lnTo>
                    <a:pt x="492" y="756"/>
                  </a:lnTo>
                  <a:lnTo>
                    <a:pt x="487" y="758"/>
                  </a:lnTo>
                  <a:lnTo>
                    <a:pt x="482" y="760"/>
                  </a:lnTo>
                  <a:lnTo>
                    <a:pt x="476" y="762"/>
                  </a:lnTo>
                  <a:lnTo>
                    <a:pt x="470" y="762"/>
                  </a:lnTo>
                  <a:lnTo>
                    <a:pt x="465" y="763"/>
                  </a:lnTo>
                  <a:close/>
                  <a:moveTo>
                    <a:pt x="330" y="404"/>
                  </a:moveTo>
                  <a:lnTo>
                    <a:pt x="330" y="407"/>
                  </a:lnTo>
                  <a:lnTo>
                    <a:pt x="329" y="410"/>
                  </a:lnTo>
                  <a:lnTo>
                    <a:pt x="328" y="412"/>
                  </a:lnTo>
                  <a:lnTo>
                    <a:pt x="326" y="414"/>
                  </a:lnTo>
                  <a:lnTo>
                    <a:pt x="323" y="417"/>
                  </a:lnTo>
                  <a:lnTo>
                    <a:pt x="320" y="418"/>
                  </a:lnTo>
                  <a:lnTo>
                    <a:pt x="318" y="419"/>
                  </a:lnTo>
                  <a:lnTo>
                    <a:pt x="315" y="419"/>
                  </a:lnTo>
                  <a:lnTo>
                    <a:pt x="270" y="419"/>
                  </a:lnTo>
                  <a:lnTo>
                    <a:pt x="270" y="543"/>
                  </a:lnTo>
                  <a:lnTo>
                    <a:pt x="270" y="546"/>
                  </a:lnTo>
                  <a:lnTo>
                    <a:pt x="269" y="549"/>
                  </a:lnTo>
                  <a:lnTo>
                    <a:pt x="268" y="551"/>
                  </a:lnTo>
                  <a:lnTo>
                    <a:pt x="266" y="554"/>
                  </a:lnTo>
                  <a:lnTo>
                    <a:pt x="263" y="556"/>
                  </a:lnTo>
                  <a:lnTo>
                    <a:pt x="260" y="557"/>
                  </a:lnTo>
                  <a:lnTo>
                    <a:pt x="258" y="558"/>
                  </a:lnTo>
                  <a:lnTo>
                    <a:pt x="255" y="558"/>
                  </a:lnTo>
                  <a:lnTo>
                    <a:pt x="252" y="558"/>
                  </a:lnTo>
                  <a:lnTo>
                    <a:pt x="250" y="557"/>
                  </a:lnTo>
                  <a:lnTo>
                    <a:pt x="246" y="556"/>
                  </a:lnTo>
                  <a:lnTo>
                    <a:pt x="244" y="554"/>
                  </a:lnTo>
                  <a:lnTo>
                    <a:pt x="242" y="551"/>
                  </a:lnTo>
                  <a:lnTo>
                    <a:pt x="241" y="549"/>
                  </a:lnTo>
                  <a:lnTo>
                    <a:pt x="240" y="546"/>
                  </a:lnTo>
                  <a:lnTo>
                    <a:pt x="240" y="543"/>
                  </a:lnTo>
                  <a:lnTo>
                    <a:pt x="240" y="419"/>
                  </a:lnTo>
                  <a:lnTo>
                    <a:pt x="195" y="419"/>
                  </a:lnTo>
                  <a:lnTo>
                    <a:pt x="192" y="419"/>
                  </a:lnTo>
                  <a:lnTo>
                    <a:pt x="190" y="418"/>
                  </a:lnTo>
                  <a:lnTo>
                    <a:pt x="186" y="417"/>
                  </a:lnTo>
                  <a:lnTo>
                    <a:pt x="184" y="414"/>
                  </a:lnTo>
                  <a:lnTo>
                    <a:pt x="183" y="412"/>
                  </a:lnTo>
                  <a:lnTo>
                    <a:pt x="181" y="410"/>
                  </a:lnTo>
                  <a:lnTo>
                    <a:pt x="180" y="407"/>
                  </a:lnTo>
                  <a:lnTo>
                    <a:pt x="180" y="404"/>
                  </a:lnTo>
                  <a:lnTo>
                    <a:pt x="180" y="344"/>
                  </a:lnTo>
                  <a:lnTo>
                    <a:pt x="180" y="342"/>
                  </a:lnTo>
                  <a:lnTo>
                    <a:pt x="181" y="339"/>
                  </a:lnTo>
                  <a:lnTo>
                    <a:pt x="183" y="336"/>
                  </a:lnTo>
                  <a:lnTo>
                    <a:pt x="184" y="334"/>
                  </a:lnTo>
                  <a:lnTo>
                    <a:pt x="186" y="332"/>
                  </a:lnTo>
                  <a:lnTo>
                    <a:pt x="190" y="331"/>
                  </a:lnTo>
                  <a:lnTo>
                    <a:pt x="192" y="330"/>
                  </a:lnTo>
                  <a:lnTo>
                    <a:pt x="195" y="329"/>
                  </a:lnTo>
                  <a:lnTo>
                    <a:pt x="240" y="329"/>
                  </a:lnTo>
                  <a:lnTo>
                    <a:pt x="240" y="129"/>
                  </a:lnTo>
                  <a:lnTo>
                    <a:pt x="240" y="126"/>
                  </a:lnTo>
                  <a:lnTo>
                    <a:pt x="241" y="123"/>
                  </a:lnTo>
                  <a:lnTo>
                    <a:pt x="242" y="121"/>
                  </a:lnTo>
                  <a:lnTo>
                    <a:pt x="244" y="118"/>
                  </a:lnTo>
                  <a:lnTo>
                    <a:pt x="246" y="117"/>
                  </a:lnTo>
                  <a:lnTo>
                    <a:pt x="250" y="115"/>
                  </a:lnTo>
                  <a:lnTo>
                    <a:pt x="252" y="114"/>
                  </a:lnTo>
                  <a:lnTo>
                    <a:pt x="255" y="114"/>
                  </a:lnTo>
                  <a:lnTo>
                    <a:pt x="258" y="114"/>
                  </a:lnTo>
                  <a:lnTo>
                    <a:pt x="260" y="115"/>
                  </a:lnTo>
                  <a:lnTo>
                    <a:pt x="263" y="117"/>
                  </a:lnTo>
                  <a:lnTo>
                    <a:pt x="266" y="118"/>
                  </a:lnTo>
                  <a:lnTo>
                    <a:pt x="268" y="121"/>
                  </a:lnTo>
                  <a:lnTo>
                    <a:pt x="269" y="123"/>
                  </a:lnTo>
                  <a:lnTo>
                    <a:pt x="270" y="127"/>
                  </a:lnTo>
                  <a:lnTo>
                    <a:pt x="270" y="129"/>
                  </a:lnTo>
                  <a:lnTo>
                    <a:pt x="270" y="329"/>
                  </a:lnTo>
                  <a:lnTo>
                    <a:pt x="315" y="329"/>
                  </a:lnTo>
                  <a:lnTo>
                    <a:pt x="318" y="330"/>
                  </a:lnTo>
                  <a:lnTo>
                    <a:pt x="320" y="331"/>
                  </a:lnTo>
                  <a:lnTo>
                    <a:pt x="323" y="332"/>
                  </a:lnTo>
                  <a:lnTo>
                    <a:pt x="326" y="334"/>
                  </a:lnTo>
                  <a:lnTo>
                    <a:pt x="328" y="336"/>
                  </a:lnTo>
                  <a:lnTo>
                    <a:pt x="329" y="339"/>
                  </a:lnTo>
                  <a:lnTo>
                    <a:pt x="330" y="342"/>
                  </a:lnTo>
                  <a:lnTo>
                    <a:pt x="330" y="344"/>
                  </a:lnTo>
                  <a:lnTo>
                    <a:pt x="330" y="404"/>
                  </a:lnTo>
                  <a:close/>
                  <a:moveTo>
                    <a:pt x="255" y="763"/>
                  </a:moveTo>
                  <a:lnTo>
                    <a:pt x="249" y="762"/>
                  </a:lnTo>
                  <a:lnTo>
                    <a:pt x="243" y="762"/>
                  </a:lnTo>
                  <a:lnTo>
                    <a:pt x="237" y="760"/>
                  </a:lnTo>
                  <a:lnTo>
                    <a:pt x="231" y="758"/>
                  </a:lnTo>
                  <a:lnTo>
                    <a:pt x="226" y="756"/>
                  </a:lnTo>
                  <a:lnTo>
                    <a:pt x="222" y="753"/>
                  </a:lnTo>
                  <a:lnTo>
                    <a:pt x="216" y="749"/>
                  </a:lnTo>
                  <a:lnTo>
                    <a:pt x="212" y="745"/>
                  </a:lnTo>
                  <a:lnTo>
                    <a:pt x="209" y="741"/>
                  </a:lnTo>
                  <a:lnTo>
                    <a:pt x="206" y="737"/>
                  </a:lnTo>
                  <a:lnTo>
                    <a:pt x="203" y="731"/>
                  </a:lnTo>
                  <a:lnTo>
                    <a:pt x="200" y="727"/>
                  </a:lnTo>
                  <a:lnTo>
                    <a:pt x="198" y="720"/>
                  </a:lnTo>
                  <a:lnTo>
                    <a:pt x="196" y="715"/>
                  </a:lnTo>
                  <a:lnTo>
                    <a:pt x="195" y="710"/>
                  </a:lnTo>
                  <a:lnTo>
                    <a:pt x="195" y="703"/>
                  </a:lnTo>
                  <a:lnTo>
                    <a:pt x="195" y="697"/>
                  </a:lnTo>
                  <a:lnTo>
                    <a:pt x="196" y="692"/>
                  </a:lnTo>
                  <a:lnTo>
                    <a:pt x="198" y="685"/>
                  </a:lnTo>
                  <a:lnTo>
                    <a:pt x="200" y="680"/>
                  </a:lnTo>
                  <a:lnTo>
                    <a:pt x="203" y="674"/>
                  </a:lnTo>
                  <a:lnTo>
                    <a:pt x="206" y="670"/>
                  </a:lnTo>
                  <a:lnTo>
                    <a:pt x="209" y="665"/>
                  </a:lnTo>
                  <a:lnTo>
                    <a:pt x="212" y="661"/>
                  </a:lnTo>
                  <a:lnTo>
                    <a:pt x="216" y="657"/>
                  </a:lnTo>
                  <a:lnTo>
                    <a:pt x="222" y="653"/>
                  </a:lnTo>
                  <a:lnTo>
                    <a:pt x="226" y="651"/>
                  </a:lnTo>
                  <a:lnTo>
                    <a:pt x="231" y="648"/>
                  </a:lnTo>
                  <a:lnTo>
                    <a:pt x="237" y="646"/>
                  </a:lnTo>
                  <a:lnTo>
                    <a:pt x="243" y="645"/>
                  </a:lnTo>
                  <a:lnTo>
                    <a:pt x="249" y="643"/>
                  </a:lnTo>
                  <a:lnTo>
                    <a:pt x="255" y="643"/>
                  </a:lnTo>
                  <a:lnTo>
                    <a:pt x="261" y="643"/>
                  </a:lnTo>
                  <a:lnTo>
                    <a:pt x="267" y="645"/>
                  </a:lnTo>
                  <a:lnTo>
                    <a:pt x="273" y="646"/>
                  </a:lnTo>
                  <a:lnTo>
                    <a:pt x="278" y="648"/>
                  </a:lnTo>
                  <a:lnTo>
                    <a:pt x="284" y="651"/>
                  </a:lnTo>
                  <a:lnTo>
                    <a:pt x="288" y="653"/>
                  </a:lnTo>
                  <a:lnTo>
                    <a:pt x="293" y="657"/>
                  </a:lnTo>
                  <a:lnTo>
                    <a:pt x="298" y="661"/>
                  </a:lnTo>
                  <a:lnTo>
                    <a:pt x="301" y="665"/>
                  </a:lnTo>
                  <a:lnTo>
                    <a:pt x="304" y="670"/>
                  </a:lnTo>
                  <a:lnTo>
                    <a:pt x="307" y="674"/>
                  </a:lnTo>
                  <a:lnTo>
                    <a:pt x="311" y="680"/>
                  </a:lnTo>
                  <a:lnTo>
                    <a:pt x="312" y="685"/>
                  </a:lnTo>
                  <a:lnTo>
                    <a:pt x="314" y="692"/>
                  </a:lnTo>
                  <a:lnTo>
                    <a:pt x="315" y="697"/>
                  </a:lnTo>
                  <a:lnTo>
                    <a:pt x="315" y="703"/>
                  </a:lnTo>
                  <a:lnTo>
                    <a:pt x="315" y="710"/>
                  </a:lnTo>
                  <a:lnTo>
                    <a:pt x="314" y="715"/>
                  </a:lnTo>
                  <a:lnTo>
                    <a:pt x="312" y="720"/>
                  </a:lnTo>
                  <a:lnTo>
                    <a:pt x="311" y="727"/>
                  </a:lnTo>
                  <a:lnTo>
                    <a:pt x="307" y="731"/>
                  </a:lnTo>
                  <a:lnTo>
                    <a:pt x="304" y="737"/>
                  </a:lnTo>
                  <a:lnTo>
                    <a:pt x="301" y="741"/>
                  </a:lnTo>
                  <a:lnTo>
                    <a:pt x="298" y="745"/>
                  </a:lnTo>
                  <a:lnTo>
                    <a:pt x="293" y="749"/>
                  </a:lnTo>
                  <a:lnTo>
                    <a:pt x="288" y="753"/>
                  </a:lnTo>
                  <a:lnTo>
                    <a:pt x="284" y="756"/>
                  </a:lnTo>
                  <a:lnTo>
                    <a:pt x="278" y="758"/>
                  </a:lnTo>
                  <a:lnTo>
                    <a:pt x="273" y="760"/>
                  </a:lnTo>
                  <a:lnTo>
                    <a:pt x="267" y="762"/>
                  </a:lnTo>
                  <a:lnTo>
                    <a:pt x="261" y="762"/>
                  </a:lnTo>
                  <a:lnTo>
                    <a:pt x="255" y="763"/>
                  </a:lnTo>
                  <a:close/>
                  <a:moveTo>
                    <a:pt x="883" y="0"/>
                  </a:moveTo>
                  <a:lnTo>
                    <a:pt x="15" y="0"/>
                  </a:lnTo>
                  <a:lnTo>
                    <a:pt x="13" y="0"/>
                  </a:lnTo>
                  <a:lnTo>
                    <a:pt x="10" y="2"/>
                  </a:lnTo>
                  <a:lnTo>
                    <a:pt x="8" y="3"/>
                  </a:lnTo>
                  <a:lnTo>
                    <a:pt x="6" y="5"/>
                  </a:lnTo>
                  <a:lnTo>
                    <a:pt x="3" y="7"/>
                  </a:lnTo>
                  <a:lnTo>
                    <a:pt x="2" y="10"/>
                  </a:lnTo>
                  <a:lnTo>
                    <a:pt x="1" y="12"/>
                  </a:lnTo>
                  <a:lnTo>
                    <a:pt x="0" y="15"/>
                  </a:lnTo>
                  <a:lnTo>
                    <a:pt x="0" y="883"/>
                  </a:lnTo>
                  <a:lnTo>
                    <a:pt x="1" y="886"/>
                  </a:lnTo>
                  <a:lnTo>
                    <a:pt x="2" y="888"/>
                  </a:lnTo>
                  <a:lnTo>
                    <a:pt x="3" y="892"/>
                  </a:lnTo>
                  <a:lnTo>
                    <a:pt x="6" y="894"/>
                  </a:lnTo>
                  <a:lnTo>
                    <a:pt x="8" y="895"/>
                  </a:lnTo>
                  <a:lnTo>
                    <a:pt x="10" y="897"/>
                  </a:lnTo>
                  <a:lnTo>
                    <a:pt x="13" y="897"/>
                  </a:lnTo>
                  <a:lnTo>
                    <a:pt x="15" y="898"/>
                  </a:lnTo>
                  <a:lnTo>
                    <a:pt x="883" y="898"/>
                  </a:lnTo>
                  <a:lnTo>
                    <a:pt x="886" y="897"/>
                  </a:lnTo>
                  <a:lnTo>
                    <a:pt x="888" y="897"/>
                  </a:lnTo>
                  <a:lnTo>
                    <a:pt x="892" y="895"/>
                  </a:lnTo>
                  <a:lnTo>
                    <a:pt x="894" y="894"/>
                  </a:lnTo>
                  <a:lnTo>
                    <a:pt x="896" y="892"/>
                  </a:lnTo>
                  <a:lnTo>
                    <a:pt x="897" y="888"/>
                  </a:lnTo>
                  <a:lnTo>
                    <a:pt x="898" y="886"/>
                  </a:lnTo>
                  <a:lnTo>
                    <a:pt x="898" y="883"/>
                  </a:lnTo>
                  <a:lnTo>
                    <a:pt x="898" y="15"/>
                  </a:lnTo>
                  <a:lnTo>
                    <a:pt x="898" y="12"/>
                  </a:lnTo>
                  <a:lnTo>
                    <a:pt x="897" y="10"/>
                  </a:lnTo>
                  <a:lnTo>
                    <a:pt x="896" y="7"/>
                  </a:lnTo>
                  <a:lnTo>
                    <a:pt x="894" y="5"/>
                  </a:lnTo>
                  <a:lnTo>
                    <a:pt x="892" y="3"/>
                  </a:lnTo>
                  <a:lnTo>
                    <a:pt x="888" y="2"/>
                  </a:lnTo>
                  <a:lnTo>
                    <a:pt x="886" y="0"/>
                  </a:lnTo>
                  <a:lnTo>
                    <a:pt x="883"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b="1"/>
            </a:p>
          </p:txBody>
        </p:sp>
        <p:sp>
          <p:nvSpPr>
            <p:cNvPr id="84" name="Rectangle 83">
              <a:extLst>
                <a:ext uri="{FF2B5EF4-FFF2-40B4-BE49-F238E27FC236}">
                  <a16:creationId xmlns:a16="http://schemas.microsoft.com/office/drawing/2014/main" id="{85AD8A3A-AD06-4535-BA49-A61A73C3D43F}"/>
                </a:ext>
              </a:extLst>
            </p:cNvPr>
            <p:cNvSpPr/>
            <p:nvPr/>
          </p:nvSpPr>
          <p:spPr>
            <a:xfrm>
              <a:off x="9342265" y="4489514"/>
              <a:ext cx="2188782" cy="276999"/>
            </a:xfrm>
            <a:prstGeom prst="rect">
              <a:avLst/>
            </a:prstGeom>
          </p:spPr>
          <p:txBody>
            <a:bodyPr wrap="square" lIns="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1">
                  <a:solidFill>
                    <a:schemeClr val="bg1"/>
                  </a:solidFill>
                  <a:latin typeface="Book Antiqua" panose="02040602050305030304" pitchFamily="18" charset="0"/>
                </a:rPr>
                <a:t>Future Scope</a:t>
              </a:r>
            </a:p>
          </p:txBody>
        </p:sp>
      </p:grpSp>
      <p:pic>
        <p:nvPicPr>
          <p:cNvPr id="32" name="Picture 3" descr="Image result for purdue krannert">
            <a:extLst>
              <a:ext uri="{FF2B5EF4-FFF2-40B4-BE49-F238E27FC236}">
                <a16:creationId xmlns:a16="http://schemas.microsoft.com/office/drawing/2014/main" id="{22B0B614-2168-4BC0-A57B-90F6C12372A9}"/>
              </a:ext>
            </a:extLst>
          </p:cNvPr>
          <p:cNvPicPr>
            <a:picLocks noChangeAspect="1" noChangeArrowheads="1"/>
          </p:cNvPicPr>
          <p:nvPr/>
        </p:nvPicPr>
        <p:blipFill>
          <a:blip r:embed="rId2" cstate="hqprint">
            <a:extLst>
              <a:ext uri="{28A0092B-C50C-407E-A947-70E740481C1C}">
                <a14:useLocalDpi xmlns:a14="http://schemas.microsoft.com/office/drawing/2010/main" val="0"/>
              </a:ext>
            </a:extLst>
          </a:blip>
          <a:srcRect/>
          <a:stretch>
            <a:fillRect/>
          </a:stretch>
        </p:blipFill>
        <p:spPr bwMode="auto">
          <a:xfrm>
            <a:off x="10998011" y="6266638"/>
            <a:ext cx="1139559" cy="571555"/>
          </a:xfrm>
          <a:prstGeom prst="rect">
            <a:avLst/>
          </a:prstGeom>
          <a:noFill/>
          <a:extLst>
            <a:ext uri="{909E8E84-426E-40DD-AFC4-6F175D3DCCD1}">
              <a14:hiddenFill xmlns:a14="http://schemas.microsoft.com/office/drawing/2010/main">
                <a:solidFill>
                  <a:srgbClr val="FFFFFF"/>
                </a:solidFill>
              </a14:hiddenFill>
            </a:ext>
          </a:extLst>
        </p:spPr>
      </p:pic>
      <p:sp>
        <p:nvSpPr>
          <p:cNvPr id="34" name="TextBox 33">
            <a:extLst>
              <a:ext uri="{FF2B5EF4-FFF2-40B4-BE49-F238E27FC236}">
                <a16:creationId xmlns:a16="http://schemas.microsoft.com/office/drawing/2014/main" id="{20D5DF74-A0B6-4FDF-BCD5-92CAB4E8EEEF}"/>
              </a:ext>
            </a:extLst>
          </p:cNvPr>
          <p:cNvSpPr txBox="1"/>
          <p:nvPr/>
        </p:nvSpPr>
        <p:spPr>
          <a:xfrm>
            <a:off x="233082" y="251012"/>
            <a:ext cx="10941978" cy="523220"/>
          </a:xfrm>
          <a:prstGeom prst="rect">
            <a:avLst/>
          </a:prstGeom>
          <a:noFill/>
        </p:spPr>
        <p:txBody>
          <a:bodyPr wrap="square" rtlCol="0">
            <a:spAutoFit/>
          </a:bodyPr>
          <a:lstStyle/>
          <a:p>
            <a:r>
              <a:rPr lang="en-US" sz="2800" b="1">
                <a:latin typeface="Georgia" panose="02040502050405020303" pitchFamily="18" charset="0"/>
              </a:rPr>
              <a:t>AGENDA</a:t>
            </a:r>
          </a:p>
        </p:txBody>
      </p:sp>
      <p:sp>
        <p:nvSpPr>
          <p:cNvPr id="35" name="Rectangle 34">
            <a:extLst>
              <a:ext uri="{FF2B5EF4-FFF2-40B4-BE49-F238E27FC236}">
                <a16:creationId xmlns:a16="http://schemas.microsoft.com/office/drawing/2014/main" id="{63C355C1-BDC9-4C94-9E16-D72C0E46BA1B}"/>
              </a:ext>
            </a:extLst>
          </p:cNvPr>
          <p:cNvSpPr/>
          <p:nvPr/>
        </p:nvSpPr>
        <p:spPr>
          <a:xfrm>
            <a:off x="400050" y="6812280"/>
            <a:ext cx="11791579" cy="4572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a:t>
            </a:r>
          </a:p>
        </p:txBody>
      </p:sp>
      <p:pic>
        <p:nvPicPr>
          <p:cNvPr id="36" name="Graphic 35" descr="Toothpaste">
            <a:extLst>
              <a:ext uri="{FF2B5EF4-FFF2-40B4-BE49-F238E27FC236}">
                <a16:creationId xmlns:a16="http://schemas.microsoft.com/office/drawing/2014/main" id="{EC329E47-FF83-47E4-B506-8325D652BDC5}"/>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6219692">
            <a:off x="-34366" y="6088478"/>
            <a:ext cx="598153" cy="598153"/>
          </a:xfrm>
          <a:prstGeom prst="rect">
            <a:avLst/>
          </a:prstGeom>
        </p:spPr>
      </p:pic>
      <p:pic>
        <p:nvPicPr>
          <p:cNvPr id="37" name="Graphic 36" descr="Snake">
            <a:extLst>
              <a:ext uri="{FF2B5EF4-FFF2-40B4-BE49-F238E27FC236}">
                <a16:creationId xmlns:a16="http://schemas.microsoft.com/office/drawing/2014/main" id="{F855B1C3-7E68-4E3B-985F-051BA62C34B1}"/>
              </a:ext>
            </a:extLst>
          </p:cNvPr>
          <p:cNvPicPr>
            <a:picLocks noChangeAspect="1"/>
          </p:cNvPicPr>
          <p:nvPr/>
        </p:nvPicPr>
        <p:blipFill rotWithShape="1">
          <a:blip r:embed="rId5" cstate="hq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l="-2" t="56027" r="47111"/>
          <a:stretch/>
        </p:blipFill>
        <p:spPr>
          <a:xfrm rot="7001259">
            <a:off x="297005" y="6680310"/>
            <a:ext cx="336423" cy="279713"/>
          </a:xfrm>
          <a:prstGeom prst="rect">
            <a:avLst/>
          </a:prstGeom>
        </p:spPr>
      </p:pic>
      <p:grpSp>
        <p:nvGrpSpPr>
          <p:cNvPr id="24" name="Group 23">
            <a:extLst>
              <a:ext uri="{FF2B5EF4-FFF2-40B4-BE49-F238E27FC236}">
                <a16:creationId xmlns:a16="http://schemas.microsoft.com/office/drawing/2014/main" id="{13D8E77D-A6BB-45E4-91E2-2A61C376C8B4}"/>
              </a:ext>
            </a:extLst>
          </p:cNvPr>
          <p:cNvGrpSpPr/>
          <p:nvPr/>
        </p:nvGrpSpPr>
        <p:grpSpPr>
          <a:xfrm>
            <a:off x="770541" y="1355491"/>
            <a:ext cx="2044685" cy="4663440"/>
            <a:chOff x="770541" y="1355491"/>
            <a:chExt cx="2044685" cy="4663440"/>
          </a:xfrm>
        </p:grpSpPr>
        <p:sp>
          <p:nvSpPr>
            <p:cNvPr id="25" name="Trapezoid 24">
              <a:extLst>
                <a:ext uri="{FF2B5EF4-FFF2-40B4-BE49-F238E27FC236}">
                  <a16:creationId xmlns:a16="http://schemas.microsoft.com/office/drawing/2014/main" id="{833E9E7C-6C8F-4428-A0D9-9EC2AAA1AA5B}"/>
                </a:ext>
                <a:ext uri="{C183D7F6-B498-43B3-948B-1728B52AA6E4}">
                  <adec:decorative xmlns:adec="http://schemas.microsoft.com/office/drawing/2017/decorative" val="1"/>
                </a:ext>
              </a:extLst>
            </p:cNvPr>
            <p:cNvSpPr/>
            <p:nvPr/>
          </p:nvSpPr>
          <p:spPr>
            <a:xfrm rot="5400000">
              <a:off x="-538836" y="2664868"/>
              <a:ext cx="4663440" cy="2044685"/>
            </a:xfrm>
            <a:prstGeom prst="trapezoid">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grpSp>
          <p:nvGrpSpPr>
            <p:cNvPr id="26" name="Group 25">
              <a:extLst>
                <a:ext uri="{FF2B5EF4-FFF2-40B4-BE49-F238E27FC236}">
                  <a16:creationId xmlns:a16="http://schemas.microsoft.com/office/drawing/2014/main" id="{81E2DDE8-FEF9-464C-8879-04F2F97906C7}"/>
                </a:ext>
              </a:extLst>
            </p:cNvPr>
            <p:cNvGrpSpPr/>
            <p:nvPr/>
          </p:nvGrpSpPr>
          <p:grpSpPr>
            <a:xfrm>
              <a:off x="993304" y="2997373"/>
              <a:ext cx="1537775" cy="2323138"/>
              <a:chOff x="993304" y="2997373"/>
              <a:chExt cx="1537775" cy="2323138"/>
            </a:xfrm>
          </p:grpSpPr>
          <p:sp>
            <p:nvSpPr>
              <p:cNvPr id="27" name="Rectangle 26">
                <a:extLst>
                  <a:ext uri="{FF2B5EF4-FFF2-40B4-BE49-F238E27FC236}">
                    <a16:creationId xmlns:a16="http://schemas.microsoft.com/office/drawing/2014/main" id="{CF9F1782-D3BC-41D1-80CE-0E5D826FBB48}"/>
                  </a:ext>
                </a:extLst>
              </p:cNvPr>
              <p:cNvSpPr/>
              <p:nvPr/>
            </p:nvSpPr>
            <p:spPr>
              <a:xfrm>
                <a:off x="993304" y="4489514"/>
                <a:ext cx="1537775" cy="830997"/>
              </a:xfrm>
              <a:prstGeom prst="rect">
                <a:avLst/>
              </a:prstGeom>
            </p:spPr>
            <p:txBody>
              <a:bodyPr wrap="square" lIns="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1">
                    <a:solidFill>
                      <a:schemeClr val="bg1"/>
                    </a:solidFill>
                    <a:latin typeface="Book Antiqua" panose="02040602050305030304" pitchFamily="18" charset="0"/>
                  </a:rPr>
                  <a:t>Introduction and Problem Statement</a:t>
                </a:r>
              </a:p>
            </p:txBody>
          </p:sp>
          <p:sp>
            <p:nvSpPr>
              <p:cNvPr id="29" name="Freeform 1676" descr="Icon of check box. ">
                <a:extLst>
                  <a:ext uri="{FF2B5EF4-FFF2-40B4-BE49-F238E27FC236}">
                    <a16:creationId xmlns:a16="http://schemas.microsoft.com/office/drawing/2014/main" id="{6ADECC3F-3E5B-4545-AD75-F7F79A04C887}"/>
                  </a:ext>
                </a:extLst>
              </p:cNvPr>
              <p:cNvSpPr>
                <a:spLocks noEditPoints="1"/>
              </p:cNvSpPr>
              <p:nvPr/>
            </p:nvSpPr>
            <p:spPr bwMode="auto">
              <a:xfrm>
                <a:off x="1201778" y="2997373"/>
                <a:ext cx="1199054" cy="1199054"/>
              </a:xfrm>
              <a:custGeom>
                <a:avLst/>
                <a:gdLst>
                  <a:gd name="T0" fmla="*/ 374 w 719"/>
                  <a:gd name="T1" fmla="*/ 267 h 719"/>
                  <a:gd name="T2" fmla="*/ 366 w 719"/>
                  <a:gd name="T3" fmla="*/ 263 h 719"/>
                  <a:gd name="T4" fmla="*/ 362 w 719"/>
                  <a:gd name="T5" fmla="*/ 254 h 719"/>
                  <a:gd name="T6" fmla="*/ 366 w 719"/>
                  <a:gd name="T7" fmla="*/ 247 h 719"/>
                  <a:gd name="T8" fmla="*/ 374 w 719"/>
                  <a:gd name="T9" fmla="*/ 243 h 719"/>
                  <a:gd name="T10" fmla="*/ 621 w 719"/>
                  <a:gd name="T11" fmla="*/ 244 h 719"/>
                  <a:gd name="T12" fmla="*/ 627 w 719"/>
                  <a:gd name="T13" fmla="*/ 250 h 719"/>
                  <a:gd name="T14" fmla="*/ 627 w 719"/>
                  <a:gd name="T15" fmla="*/ 260 h 719"/>
                  <a:gd name="T16" fmla="*/ 621 w 719"/>
                  <a:gd name="T17" fmla="*/ 265 h 719"/>
                  <a:gd name="T18" fmla="*/ 616 w 719"/>
                  <a:gd name="T19" fmla="*/ 528 h 719"/>
                  <a:gd name="T20" fmla="*/ 370 w 719"/>
                  <a:gd name="T21" fmla="*/ 527 h 719"/>
                  <a:gd name="T22" fmla="*/ 363 w 719"/>
                  <a:gd name="T23" fmla="*/ 521 h 719"/>
                  <a:gd name="T24" fmla="*/ 363 w 719"/>
                  <a:gd name="T25" fmla="*/ 512 h 719"/>
                  <a:gd name="T26" fmla="*/ 370 w 719"/>
                  <a:gd name="T27" fmla="*/ 505 h 719"/>
                  <a:gd name="T28" fmla="*/ 616 w 719"/>
                  <a:gd name="T29" fmla="*/ 504 h 719"/>
                  <a:gd name="T30" fmla="*/ 625 w 719"/>
                  <a:gd name="T31" fmla="*/ 507 h 719"/>
                  <a:gd name="T32" fmla="*/ 628 w 719"/>
                  <a:gd name="T33" fmla="*/ 516 h 719"/>
                  <a:gd name="T34" fmla="*/ 625 w 719"/>
                  <a:gd name="T35" fmla="*/ 525 h 719"/>
                  <a:gd name="T36" fmla="*/ 616 w 719"/>
                  <a:gd name="T37" fmla="*/ 528 h 719"/>
                  <a:gd name="T38" fmla="*/ 171 w 719"/>
                  <a:gd name="T39" fmla="*/ 279 h 719"/>
                  <a:gd name="T40" fmla="*/ 164 w 719"/>
                  <a:gd name="T41" fmla="*/ 282 h 719"/>
                  <a:gd name="T42" fmla="*/ 155 w 719"/>
                  <a:gd name="T43" fmla="*/ 279 h 719"/>
                  <a:gd name="T44" fmla="*/ 92 w 719"/>
                  <a:gd name="T45" fmla="*/ 214 h 719"/>
                  <a:gd name="T46" fmla="*/ 92 w 719"/>
                  <a:gd name="T47" fmla="*/ 205 h 719"/>
                  <a:gd name="T48" fmla="*/ 98 w 719"/>
                  <a:gd name="T49" fmla="*/ 198 h 719"/>
                  <a:gd name="T50" fmla="*/ 107 w 719"/>
                  <a:gd name="T51" fmla="*/ 198 h 719"/>
                  <a:gd name="T52" fmla="*/ 164 w 719"/>
                  <a:gd name="T53" fmla="*/ 253 h 719"/>
                  <a:gd name="T54" fmla="*/ 309 w 719"/>
                  <a:gd name="T55" fmla="*/ 109 h 719"/>
                  <a:gd name="T56" fmla="*/ 318 w 719"/>
                  <a:gd name="T57" fmla="*/ 109 h 719"/>
                  <a:gd name="T58" fmla="*/ 325 w 719"/>
                  <a:gd name="T59" fmla="*/ 114 h 719"/>
                  <a:gd name="T60" fmla="*/ 325 w 719"/>
                  <a:gd name="T61" fmla="*/ 124 h 719"/>
                  <a:gd name="T62" fmla="*/ 323 w 719"/>
                  <a:gd name="T63" fmla="*/ 414 h 719"/>
                  <a:gd name="T64" fmla="*/ 168 w 719"/>
                  <a:gd name="T65" fmla="*/ 568 h 719"/>
                  <a:gd name="T66" fmla="*/ 158 w 719"/>
                  <a:gd name="T67" fmla="*/ 568 h 719"/>
                  <a:gd name="T68" fmla="*/ 94 w 719"/>
                  <a:gd name="T69" fmla="*/ 505 h 719"/>
                  <a:gd name="T70" fmla="*/ 91 w 719"/>
                  <a:gd name="T71" fmla="*/ 497 h 719"/>
                  <a:gd name="T72" fmla="*/ 94 w 719"/>
                  <a:gd name="T73" fmla="*/ 488 h 719"/>
                  <a:gd name="T74" fmla="*/ 103 w 719"/>
                  <a:gd name="T75" fmla="*/ 485 h 719"/>
                  <a:gd name="T76" fmla="*/ 111 w 719"/>
                  <a:gd name="T77" fmla="*/ 488 h 719"/>
                  <a:gd name="T78" fmla="*/ 306 w 719"/>
                  <a:gd name="T79" fmla="*/ 397 h 719"/>
                  <a:gd name="T80" fmla="*/ 314 w 719"/>
                  <a:gd name="T81" fmla="*/ 394 h 719"/>
                  <a:gd name="T82" fmla="*/ 323 w 719"/>
                  <a:gd name="T83" fmla="*/ 398 h 719"/>
                  <a:gd name="T84" fmla="*/ 326 w 719"/>
                  <a:gd name="T85" fmla="*/ 406 h 719"/>
                  <a:gd name="T86" fmla="*/ 323 w 719"/>
                  <a:gd name="T87" fmla="*/ 414 h 719"/>
                  <a:gd name="T88" fmla="*/ 12 w 719"/>
                  <a:gd name="T89" fmla="*/ 0 h 719"/>
                  <a:gd name="T90" fmla="*/ 3 w 719"/>
                  <a:gd name="T91" fmla="*/ 5 h 719"/>
                  <a:gd name="T92" fmla="*/ 0 w 719"/>
                  <a:gd name="T93" fmla="*/ 13 h 719"/>
                  <a:gd name="T94" fmla="*/ 1 w 719"/>
                  <a:gd name="T95" fmla="*/ 713 h 719"/>
                  <a:gd name="T96" fmla="*/ 8 w 719"/>
                  <a:gd name="T97" fmla="*/ 719 h 719"/>
                  <a:gd name="T98" fmla="*/ 707 w 719"/>
                  <a:gd name="T99" fmla="*/ 719 h 719"/>
                  <a:gd name="T100" fmla="*/ 716 w 719"/>
                  <a:gd name="T101" fmla="*/ 716 h 719"/>
                  <a:gd name="T102" fmla="*/ 719 w 719"/>
                  <a:gd name="T103" fmla="*/ 707 h 719"/>
                  <a:gd name="T104" fmla="*/ 718 w 719"/>
                  <a:gd name="T105" fmla="*/ 8 h 719"/>
                  <a:gd name="T106" fmla="*/ 711 w 719"/>
                  <a:gd name="T107" fmla="*/ 2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19" h="719">
                    <a:moveTo>
                      <a:pt x="616" y="267"/>
                    </a:moveTo>
                    <a:lnTo>
                      <a:pt x="374" y="267"/>
                    </a:lnTo>
                    <a:lnTo>
                      <a:pt x="370" y="265"/>
                    </a:lnTo>
                    <a:lnTo>
                      <a:pt x="366" y="263"/>
                    </a:lnTo>
                    <a:lnTo>
                      <a:pt x="363" y="260"/>
                    </a:lnTo>
                    <a:lnTo>
                      <a:pt x="362" y="254"/>
                    </a:lnTo>
                    <a:lnTo>
                      <a:pt x="363" y="250"/>
                    </a:lnTo>
                    <a:lnTo>
                      <a:pt x="366" y="247"/>
                    </a:lnTo>
                    <a:lnTo>
                      <a:pt x="370" y="244"/>
                    </a:lnTo>
                    <a:lnTo>
                      <a:pt x="374" y="243"/>
                    </a:lnTo>
                    <a:lnTo>
                      <a:pt x="616" y="243"/>
                    </a:lnTo>
                    <a:lnTo>
                      <a:pt x="621" y="244"/>
                    </a:lnTo>
                    <a:lnTo>
                      <a:pt x="625" y="247"/>
                    </a:lnTo>
                    <a:lnTo>
                      <a:pt x="627" y="250"/>
                    </a:lnTo>
                    <a:lnTo>
                      <a:pt x="628" y="254"/>
                    </a:lnTo>
                    <a:lnTo>
                      <a:pt x="627" y="260"/>
                    </a:lnTo>
                    <a:lnTo>
                      <a:pt x="625" y="263"/>
                    </a:lnTo>
                    <a:lnTo>
                      <a:pt x="621" y="265"/>
                    </a:lnTo>
                    <a:lnTo>
                      <a:pt x="616" y="267"/>
                    </a:lnTo>
                    <a:close/>
                    <a:moveTo>
                      <a:pt x="616" y="528"/>
                    </a:moveTo>
                    <a:lnTo>
                      <a:pt x="374" y="528"/>
                    </a:lnTo>
                    <a:lnTo>
                      <a:pt x="370" y="527"/>
                    </a:lnTo>
                    <a:lnTo>
                      <a:pt x="366" y="525"/>
                    </a:lnTo>
                    <a:lnTo>
                      <a:pt x="363" y="521"/>
                    </a:lnTo>
                    <a:lnTo>
                      <a:pt x="362" y="516"/>
                    </a:lnTo>
                    <a:lnTo>
                      <a:pt x="363" y="512"/>
                    </a:lnTo>
                    <a:lnTo>
                      <a:pt x="366" y="507"/>
                    </a:lnTo>
                    <a:lnTo>
                      <a:pt x="370" y="505"/>
                    </a:lnTo>
                    <a:lnTo>
                      <a:pt x="374" y="504"/>
                    </a:lnTo>
                    <a:lnTo>
                      <a:pt x="616" y="504"/>
                    </a:lnTo>
                    <a:lnTo>
                      <a:pt x="621" y="505"/>
                    </a:lnTo>
                    <a:lnTo>
                      <a:pt x="625" y="507"/>
                    </a:lnTo>
                    <a:lnTo>
                      <a:pt x="627" y="512"/>
                    </a:lnTo>
                    <a:lnTo>
                      <a:pt x="628" y="516"/>
                    </a:lnTo>
                    <a:lnTo>
                      <a:pt x="627" y="521"/>
                    </a:lnTo>
                    <a:lnTo>
                      <a:pt x="625" y="525"/>
                    </a:lnTo>
                    <a:lnTo>
                      <a:pt x="621" y="527"/>
                    </a:lnTo>
                    <a:lnTo>
                      <a:pt x="616" y="528"/>
                    </a:lnTo>
                    <a:close/>
                    <a:moveTo>
                      <a:pt x="323" y="127"/>
                    </a:moveTo>
                    <a:lnTo>
                      <a:pt x="171" y="279"/>
                    </a:lnTo>
                    <a:lnTo>
                      <a:pt x="168" y="282"/>
                    </a:lnTo>
                    <a:lnTo>
                      <a:pt x="164" y="282"/>
                    </a:lnTo>
                    <a:lnTo>
                      <a:pt x="158" y="282"/>
                    </a:lnTo>
                    <a:lnTo>
                      <a:pt x="155" y="279"/>
                    </a:lnTo>
                    <a:lnTo>
                      <a:pt x="94" y="218"/>
                    </a:lnTo>
                    <a:lnTo>
                      <a:pt x="92" y="214"/>
                    </a:lnTo>
                    <a:lnTo>
                      <a:pt x="91" y="209"/>
                    </a:lnTo>
                    <a:lnTo>
                      <a:pt x="92" y="205"/>
                    </a:lnTo>
                    <a:lnTo>
                      <a:pt x="94" y="201"/>
                    </a:lnTo>
                    <a:lnTo>
                      <a:pt x="98" y="198"/>
                    </a:lnTo>
                    <a:lnTo>
                      <a:pt x="103" y="197"/>
                    </a:lnTo>
                    <a:lnTo>
                      <a:pt x="107" y="198"/>
                    </a:lnTo>
                    <a:lnTo>
                      <a:pt x="111" y="201"/>
                    </a:lnTo>
                    <a:lnTo>
                      <a:pt x="164" y="253"/>
                    </a:lnTo>
                    <a:lnTo>
                      <a:pt x="306" y="111"/>
                    </a:lnTo>
                    <a:lnTo>
                      <a:pt x="309" y="109"/>
                    </a:lnTo>
                    <a:lnTo>
                      <a:pt x="314" y="108"/>
                    </a:lnTo>
                    <a:lnTo>
                      <a:pt x="318" y="109"/>
                    </a:lnTo>
                    <a:lnTo>
                      <a:pt x="323" y="111"/>
                    </a:lnTo>
                    <a:lnTo>
                      <a:pt x="325" y="114"/>
                    </a:lnTo>
                    <a:lnTo>
                      <a:pt x="326" y="119"/>
                    </a:lnTo>
                    <a:lnTo>
                      <a:pt x="325" y="124"/>
                    </a:lnTo>
                    <a:lnTo>
                      <a:pt x="323" y="127"/>
                    </a:lnTo>
                    <a:close/>
                    <a:moveTo>
                      <a:pt x="323" y="414"/>
                    </a:moveTo>
                    <a:lnTo>
                      <a:pt x="171" y="565"/>
                    </a:lnTo>
                    <a:lnTo>
                      <a:pt x="168" y="568"/>
                    </a:lnTo>
                    <a:lnTo>
                      <a:pt x="164" y="569"/>
                    </a:lnTo>
                    <a:lnTo>
                      <a:pt x="158" y="568"/>
                    </a:lnTo>
                    <a:lnTo>
                      <a:pt x="155" y="565"/>
                    </a:lnTo>
                    <a:lnTo>
                      <a:pt x="94" y="505"/>
                    </a:lnTo>
                    <a:lnTo>
                      <a:pt x="92" y="502"/>
                    </a:lnTo>
                    <a:lnTo>
                      <a:pt x="91" y="497"/>
                    </a:lnTo>
                    <a:lnTo>
                      <a:pt x="92" y="493"/>
                    </a:lnTo>
                    <a:lnTo>
                      <a:pt x="94" y="488"/>
                    </a:lnTo>
                    <a:lnTo>
                      <a:pt x="98" y="486"/>
                    </a:lnTo>
                    <a:lnTo>
                      <a:pt x="103" y="485"/>
                    </a:lnTo>
                    <a:lnTo>
                      <a:pt x="107" y="486"/>
                    </a:lnTo>
                    <a:lnTo>
                      <a:pt x="111" y="488"/>
                    </a:lnTo>
                    <a:lnTo>
                      <a:pt x="164" y="540"/>
                    </a:lnTo>
                    <a:lnTo>
                      <a:pt x="306" y="397"/>
                    </a:lnTo>
                    <a:lnTo>
                      <a:pt x="309" y="395"/>
                    </a:lnTo>
                    <a:lnTo>
                      <a:pt x="314" y="394"/>
                    </a:lnTo>
                    <a:lnTo>
                      <a:pt x="318" y="395"/>
                    </a:lnTo>
                    <a:lnTo>
                      <a:pt x="323" y="398"/>
                    </a:lnTo>
                    <a:lnTo>
                      <a:pt x="325" y="401"/>
                    </a:lnTo>
                    <a:lnTo>
                      <a:pt x="326" y="406"/>
                    </a:lnTo>
                    <a:lnTo>
                      <a:pt x="325" y="410"/>
                    </a:lnTo>
                    <a:lnTo>
                      <a:pt x="323" y="414"/>
                    </a:lnTo>
                    <a:close/>
                    <a:moveTo>
                      <a:pt x="707" y="0"/>
                    </a:moveTo>
                    <a:lnTo>
                      <a:pt x="12" y="0"/>
                    </a:lnTo>
                    <a:lnTo>
                      <a:pt x="8" y="2"/>
                    </a:lnTo>
                    <a:lnTo>
                      <a:pt x="3" y="5"/>
                    </a:lnTo>
                    <a:lnTo>
                      <a:pt x="1" y="8"/>
                    </a:lnTo>
                    <a:lnTo>
                      <a:pt x="0" y="13"/>
                    </a:lnTo>
                    <a:lnTo>
                      <a:pt x="0" y="707"/>
                    </a:lnTo>
                    <a:lnTo>
                      <a:pt x="1" y="713"/>
                    </a:lnTo>
                    <a:lnTo>
                      <a:pt x="3" y="716"/>
                    </a:lnTo>
                    <a:lnTo>
                      <a:pt x="8" y="719"/>
                    </a:lnTo>
                    <a:lnTo>
                      <a:pt x="12" y="719"/>
                    </a:lnTo>
                    <a:lnTo>
                      <a:pt x="707" y="719"/>
                    </a:lnTo>
                    <a:lnTo>
                      <a:pt x="711" y="719"/>
                    </a:lnTo>
                    <a:lnTo>
                      <a:pt x="716" y="716"/>
                    </a:lnTo>
                    <a:lnTo>
                      <a:pt x="718" y="713"/>
                    </a:lnTo>
                    <a:lnTo>
                      <a:pt x="719" y="707"/>
                    </a:lnTo>
                    <a:lnTo>
                      <a:pt x="719" y="13"/>
                    </a:lnTo>
                    <a:lnTo>
                      <a:pt x="718" y="8"/>
                    </a:lnTo>
                    <a:lnTo>
                      <a:pt x="716" y="5"/>
                    </a:lnTo>
                    <a:lnTo>
                      <a:pt x="711" y="2"/>
                    </a:lnTo>
                    <a:lnTo>
                      <a:pt x="707"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b="1"/>
              </a:p>
            </p:txBody>
          </p:sp>
        </p:grpSp>
      </p:grpSp>
      <p:grpSp>
        <p:nvGrpSpPr>
          <p:cNvPr id="30" name="Group 29">
            <a:extLst>
              <a:ext uri="{FF2B5EF4-FFF2-40B4-BE49-F238E27FC236}">
                <a16:creationId xmlns:a16="http://schemas.microsoft.com/office/drawing/2014/main" id="{10A131E4-85DE-40FA-A98C-F10C130A1F4C}"/>
              </a:ext>
            </a:extLst>
          </p:cNvPr>
          <p:cNvGrpSpPr/>
          <p:nvPr/>
        </p:nvGrpSpPr>
        <p:grpSpPr>
          <a:xfrm>
            <a:off x="4978172" y="1355491"/>
            <a:ext cx="2044685" cy="4663440"/>
            <a:chOff x="7270936" y="1355491"/>
            <a:chExt cx="2044685" cy="4663440"/>
          </a:xfrm>
        </p:grpSpPr>
        <p:sp>
          <p:nvSpPr>
            <p:cNvPr id="31" name="Trapezoid 30">
              <a:extLst>
                <a:ext uri="{FF2B5EF4-FFF2-40B4-BE49-F238E27FC236}">
                  <a16:creationId xmlns:a16="http://schemas.microsoft.com/office/drawing/2014/main" id="{A52B1E3B-E446-4F57-9BF6-C22A94BE8CCA}"/>
                </a:ext>
                <a:ext uri="{C183D7F6-B498-43B3-948B-1728B52AA6E4}">
                  <adec:decorative xmlns:adec="http://schemas.microsoft.com/office/drawing/2017/decorative" val="1"/>
                </a:ext>
              </a:extLst>
            </p:cNvPr>
            <p:cNvSpPr/>
            <p:nvPr/>
          </p:nvSpPr>
          <p:spPr>
            <a:xfrm rot="5400000">
              <a:off x="5961559" y="2664868"/>
              <a:ext cx="4663440" cy="2044685"/>
            </a:xfrm>
            <a:prstGeom prst="trapezoid">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38" name="Rectangle 37">
              <a:extLst>
                <a:ext uri="{FF2B5EF4-FFF2-40B4-BE49-F238E27FC236}">
                  <a16:creationId xmlns:a16="http://schemas.microsoft.com/office/drawing/2014/main" id="{F3E00235-94C1-4BA7-8FD1-ED5883D1C8FD}"/>
                </a:ext>
              </a:extLst>
            </p:cNvPr>
            <p:cNvSpPr/>
            <p:nvPr/>
          </p:nvSpPr>
          <p:spPr>
            <a:xfrm>
              <a:off x="7489868" y="4490752"/>
              <a:ext cx="1508760" cy="553998"/>
            </a:xfrm>
            <a:prstGeom prst="rect">
              <a:avLst/>
            </a:prstGeom>
          </p:spPr>
          <p:txBody>
            <a:bodyPr wrap="square" lIns="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1">
                  <a:solidFill>
                    <a:schemeClr val="bg1"/>
                  </a:solidFill>
                  <a:latin typeface="Book Antiqua" panose="02040602050305030304" pitchFamily="18" charset="0"/>
                </a:rPr>
                <a:t>Modeling and Results</a:t>
              </a:r>
            </a:p>
          </p:txBody>
        </p:sp>
        <p:sp>
          <p:nvSpPr>
            <p:cNvPr id="39" name="Freeform 4665" descr="Icon of graph. ">
              <a:extLst>
                <a:ext uri="{FF2B5EF4-FFF2-40B4-BE49-F238E27FC236}">
                  <a16:creationId xmlns:a16="http://schemas.microsoft.com/office/drawing/2014/main" id="{A818DBEC-7892-4769-9907-B1A87677662B}"/>
                </a:ext>
              </a:extLst>
            </p:cNvPr>
            <p:cNvSpPr>
              <a:spLocks/>
            </p:cNvSpPr>
            <p:nvPr/>
          </p:nvSpPr>
          <p:spPr bwMode="auto">
            <a:xfrm>
              <a:off x="7715846" y="2842273"/>
              <a:ext cx="1371600" cy="1371600"/>
            </a:xfrm>
            <a:custGeom>
              <a:avLst/>
              <a:gdLst>
                <a:gd name="T0" fmla="*/ 761 w 904"/>
                <a:gd name="T1" fmla="*/ 213 h 903"/>
                <a:gd name="T2" fmla="*/ 754 w 904"/>
                <a:gd name="T3" fmla="*/ 225 h 903"/>
                <a:gd name="T4" fmla="*/ 576 w 904"/>
                <a:gd name="T5" fmla="*/ 277 h 903"/>
                <a:gd name="T6" fmla="*/ 498 w 904"/>
                <a:gd name="T7" fmla="*/ 298 h 903"/>
                <a:gd name="T8" fmla="*/ 431 w 904"/>
                <a:gd name="T9" fmla="*/ 329 h 903"/>
                <a:gd name="T10" fmla="*/ 578 w 904"/>
                <a:gd name="T11" fmla="*/ 170 h 903"/>
                <a:gd name="T12" fmla="*/ 618 w 904"/>
                <a:gd name="T13" fmla="*/ 180 h 903"/>
                <a:gd name="T14" fmla="*/ 661 w 904"/>
                <a:gd name="T15" fmla="*/ 169 h 903"/>
                <a:gd name="T16" fmla="*/ 693 w 904"/>
                <a:gd name="T17" fmla="*/ 141 h 903"/>
                <a:gd name="T18" fmla="*/ 707 w 904"/>
                <a:gd name="T19" fmla="*/ 99 h 903"/>
                <a:gd name="T20" fmla="*/ 701 w 904"/>
                <a:gd name="T21" fmla="*/ 55 h 903"/>
                <a:gd name="T22" fmla="*/ 676 w 904"/>
                <a:gd name="T23" fmla="*/ 20 h 903"/>
                <a:gd name="T24" fmla="*/ 636 w 904"/>
                <a:gd name="T25" fmla="*/ 2 h 903"/>
                <a:gd name="T26" fmla="*/ 591 w 904"/>
                <a:gd name="T27" fmla="*/ 4 h 903"/>
                <a:gd name="T28" fmla="*/ 554 w 904"/>
                <a:gd name="T29" fmla="*/ 25 h 903"/>
                <a:gd name="T30" fmla="*/ 531 w 904"/>
                <a:gd name="T31" fmla="*/ 63 h 903"/>
                <a:gd name="T32" fmla="*/ 532 w 904"/>
                <a:gd name="T33" fmla="*/ 118 h 903"/>
                <a:gd name="T34" fmla="*/ 369 w 904"/>
                <a:gd name="T35" fmla="*/ 289 h 903"/>
                <a:gd name="T36" fmla="*/ 325 w 904"/>
                <a:gd name="T37" fmla="*/ 289 h 903"/>
                <a:gd name="T38" fmla="*/ 294 w 904"/>
                <a:gd name="T39" fmla="*/ 308 h 903"/>
                <a:gd name="T40" fmla="*/ 275 w 904"/>
                <a:gd name="T41" fmla="*/ 338 h 903"/>
                <a:gd name="T42" fmla="*/ 275 w 904"/>
                <a:gd name="T43" fmla="*/ 383 h 903"/>
                <a:gd name="T44" fmla="*/ 113 w 904"/>
                <a:gd name="T45" fmla="*/ 545 h 903"/>
                <a:gd name="T46" fmla="*/ 64 w 904"/>
                <a:gd name="T47" fmla="*/ 546 h 903"/>
                <a:gd name="T48" fmla="*/ 26 w 904"/>
                <a:gd name="T49" fmla="*/ 568 h 903"/>
                <a:gd name="T50" fmla="*/ 5 w 904"/>
                <a:gd name="T51" fmla="*/ 605 h 903"/>
                <a:gd name="T52" fmla="*/ 3 w 904"/>
                <a:gd name="T53" fmla="*/ 650 h 903"/>
                <a:gd name="T54" fmla="*/ 21 w 904"/>
                <a:gd name="T55" fmla="*/ 690 h 903"/>
                <a:gd name="T56" fmla="*/ 56 w 904"/>
                <a:gd name="T57" fmla="*/ 716 h 903"/>
                <a:gd name="T58" fmla="*/ 100 w 904"/>
                <a:gd name="T59" fmla="*/ 722 h 903"/>
                <a:gd name="T60" fmla="*/ 142 w 904"/>
                <a:gd name="T61" fmla="*/ 706 h 903"/>
                <a:gd name="T62" fmla="*/ 170 w 904"/>
                <a:gd name="T63" fmla="*/ 675 h 903"/>
                <a:gd name="T64" fmla="*/ 181 w 904"/>
                <a:gd name="T65" fmla="*/ 632 h 903"/>
                <a:gd name="T66" fmla="*/ 171 w 904"/>
                <a:gd name="T67" fmla="*/ 591 h 903"/>
                <a:gd name="T68" fmla="*/ 316 w 904"/>
                <a:gd name="T69" fmla="*/ 430 h 903"/>
                <a:gd name="T70" fmla="*/ 286 w 904"/>
                <a:gd name="T71" fmla="*/ 538 h 903"/>
                <a:gd name="T72" fmla="*/ 271 w 904"/>
                <a:gd name="T73" fmla="*/ 753 h 903"/>
                <a:gd name="T74" fmla="*/ 216 w 904"/>
                <a:gd name="T75" fmla="*/ 757 h 903"/>
                <a:gd name="T76" fmla="*/ 212 w 904"/>
                <a:gd name="T77" fmla="*/ 888 h 903"/>
                <a:gd name="T78" fmla="*/ 218 w 904"/>
                <a:gd name="T79" fmla="*/ 901 h 903"/>
                <a:gd name="T80" fmla="*/ 349 w 904"/>
                <a:gd name="T81" fmla="*/ 903 h 903"/>
                <a:gd name="T82" fmla="*/ 361 w 904"/>
                <a:gd name="T83" fmla="*/ 894 h 903"/>
                <a:gd name="T84" fmla="*/ 361 w 904"/>
                <a:gd name="T85" fmla="*/ 762 h 903"/>
                <a:gd name="T86" fmla="*/ 349 w 904"/>
                <a:gd name="T87" fmla="*/ 753 h 903"/>
                <a:gd name="T88" fmla="*/ 305 w 904"/>
                <a:gd name="T89" fmla="*/ 597 h 903"/>
                <a:gd name="T90" fmla="*/ 343 w 904"/>
                <a:gd name="T91" fmla="*/ 469 h 903"/>
                <a:gd name="T92" fmla="*/ 383 w 904"/>
                <a:gd name="T93" fmla="*/ 426 h 903"/>
                <a:gd name="T94" fmla="*/ 418 w 904"/>
                <a:gd name="T95" fmla="*/ 383 h 903"/>
                <a:gd name="T96" fmla="*/ 471 w 904"/>
                <a:gd name="T97" fmla="*/ 342 h 903"/>
                <a:gd name="T98" fmla="*/ 544 w 904"/>
                <a:gd name="T99" fmla="*/ 315 h 903"/>
                <a:gd name="T100" fmla="*/ 627 w 904"/>
                <a:gd name="T101" fmla="*/ 302 h 903"/>
                <a:gd name="T102" fmla="*/ 754 w 904"/>
                <a:gd name="T103" fmla="*/ 348 h 903"/>
                <a:gd name="T104" fmla="*/ 763 w 904"/>
                <a:gd name="T105" fmla="*/ 360 h 903"/>
                <a:gd name="T106" fmla="*/ 895 w 904"/>
                <a:gd name="T107" fmla="*/ 360 h 903"/>
                <a:gd name="T108" fmla="*/ 904 w 904"/>
                <a:gd name="T109" fmla="*/ 348 h 903"/>
                <a:gd name="T110" fmla="*/ 902 w 904"/>
                <a:gd name="T111" fmla="*/ 217 h 903"/>
                <a:gd name="T112" fmla="*/ 889 w 904"/>
                <a:gd name="T113" fmla="*/ 211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04" h="903">
                  <a:moveTo>
                    <a:pt x="889" y="211"/>
                  </a:moveTo>
                  <a:lnTo>
                    <a:pt x="768" y="211"/>
                  </a:lnTo>
                  <a:lnTo>
                    <a:pt x="765" y="211"/>
                  </a:lnTo>
                  <a:lnTo>
                    <a:pt x="763" y="212"/>
                  </a:lnTo>
                  <a:lnTo>
                    <a:pt x="761" y="213"/>
                  </a:lnTo>
                  <a:lnTo>
                    <a:pt x="758" y="215"/>
                  </a:lnTo>
                  <a:lnTo>
                    <a:pt x="756" y="217"/>
                  </a:lnTo>
                  <a:lnTo>
                    <a:pt x="755" y="220"/>
                  </a:lnTo>
                  <a:lnTo>
                    <a:pt x="754" y="222"/>
                  </a:lnTo>
                  <a:lnTo>
                    <a:pt x="754" y="225"/>
                  </a:lnTo>
                  <a:lnTo>
                    <a:pt x="754" y="271"/>
                  </a:lnTo>
                  <a:lnTo>
                    <a:pt x="663" y="271"/>
                  </a:lnTo>
                  <a:lnTo>
                    <a:pt x="627" y="272"/>
                  </a:lnTo>
                  <a:lnTo>
                    <a:pt x="593" y="275"/>
                  </a:lnTo>
                  <a:lnTo>
                    <a:pt x="576" y="277"/>
                  </a:lnTo>
                  <a:lnTo>
                    <a:pt x="561" y="281"/>
                  </a:lnTo>
                  <a:lnTo>
                    <a:pt x="545" y="284"/>
                  </a:lnTo>
                  <a:lnTo>
                    <a:pt x="529" y="287"/>
                  </a:lnTo>
                  <a:lnTo>
                    <a:pt x="513" y="292"/>
                  </a:lnTo>
                  <a:lnTo>
                    <a:pt x="498" y="298"/>
                  </a:lnTo>
                  <a:lnTo>
                    <a:pt x="484" y="302"/>
                  </a:lnTo>
                  <a:lnTo>
                    <a:pt x="470" y="309"/>
                  </a:lnTo>
                  <a:lnTo>
                    <a:pt x="457" y="315"/>
                  </a:lnTo>
                  <a:lnTo>
                    <a:pt x="443" y="323"/>
                  </a:lnTo>
                  <a:lnTo>
                    <a:pt x="431" y="329"/>
                  </a:lnTo>
                  <a:lnTo>
                    <a:pt x="418" y="337"/>
                  </a:lnTo>
                  <a:lnTo>
                    <a:pt x="415" y="328"/>
                  </a:lnTo>
                  <a:lnTo>
                    <a:pt x="409" y="319"/>
                  </a:lnTo>
                  <a:lnTo>
                    <a:pt x="565" y="163"/>
                  </a:lnTo>
                  <a:lnTo>
                    <a:pt x="578" y="170"/>
                  </a:lnTo>
                  <a:lnTo>
                    <a:pt x="590" y="176"/>
                  </a:lnTo>
                  <a:lnTo>
                    <a:pt x="597" y="178"/>
                  </a:lnTo>
                  <a:lnTo>
                    <a:pt x="604" y="179"/>
                  </a:lnTo>
                  <a:lnTo>
                    <a:pt x="610" y="180"/>
                  </a:lnTo>
                  <a:lnTo>
                    <a:pt x="618" y="180"/>
                  </a:lnTo>
                  <a:lnTo>
                    <a:pt x="627" y="180"/>
                  </a:lnTo>
                  <a:lnTo>
                    <a:pt x="636" y="178"/>
                  </a:lnTo>
                  <a:lnTo>
                    <a:pt x="644" y="176"/>
                  </a:lnTo>
                  <a:lnTo>
                    <a:pt x="653" y="173"/>
                  </a:lnTo>
                  <a:lnTo>
                    <a:pt x="661" y="169"/>
                  </a:lnTo>
                  <a:lnTo>
                    <a:pt x="668" y="164"/>
                  </a:lnTo>
                  <a:lnTo>
                    <a:pt x="676" y="160"/>
                  </a:lnTo>
                  <a:lnTo>
                    <a:pt x="681" y="154"/>
                  </a:lnTo>
                  <a:lnTo>
                    <a:pt x="687" y="147"/>
                  </a:lnTo>
                  <a:lnTo>
                    <a:pt x="693" y="141"/>
                  </a:lnTo>
                  <a:lnTo>
                    <a:pt x="697" y="133"/>
                  </a:lnTo>
                  <a:lnTo>
                    <a:pt x="701" y="125"/>
                  </a:lnTo>
                  <a:lnTo>
                    <a:pt x="704" y="117"/>
                  </a:lnTo>
                  <a:lnTo>
                    <a:pt x="706" y="108"/>
                  </a:lnTo>
                  <a:lnTo>
                    <a:pt x="707" y="99"/>
                  </a:lnTo>
                  <a:lnTo>
                    <a:pt x="709" y="90"/>
                  </a:lnTo>
                  <a:lnTo>
                    <a:pt x="707" y="81"/>
                  </a:lnTo>
                  <a:lnTo>
                    <a:pt x="706" y="72"/>
                  </a:lnTo>
                  <a:lnTo>
                    <a:pt x="704" y="63"/>
                  </a:lnTo>
                  <a:lnTo>
                    <a:pt x="701" y="55"/>
                  </a:lnTo>
                  <a:lnTo>
                    <a:pt x="697" y="47"/>
                  </a:lnTo>
                  <a:lnTo>
                    <a:pt x="693" y="39"/>
                  </a:lnTo>
                  <a:lnTo>
                    <a:pt x="687" y="32"/>
                  </a:lnTo>
                  <a:lnTo>
                    <a:pt x="681" y="25"/>
                  </a:lnTo>
                  <a:lnTo>
                    <a:pt x="676" y="20"/>
                  </a:lnTo>
                  <a:lnTo>
                    <a:pt x="668" y="15"/>
                  </a:lnTo>
                  <a:lnTo>
                    <a:pt x="661" y="11"/>
                  </a:lnTo>
                  <a:lnTo>
                    <a:pt x="653" y="6"/>
                  </a:lnTo>
                  <a:lnTo>
                    <a:pt x="644" y="4"/>
                  </a:lnTo>
                  <a:lnTo>
                    <a:pt x="636" y="2"/>
                  </a:lnTo>
                  <a:lnTo>
                    <a:pt x="627" y="0"/>
                  </a:lnTo>
                  <a:lnTo>
                    <a:pt x="618" y="0"/>
                  </a:lnTo>
                  <a:lnTo>
                    <a:pt x="609" y="0"/>
                  </a:lnTo>
                  <a:lnTo>
                    <a:pt x="600" y="2"/>
                  </a:lnTo>
                  <a:lnTo>
                    <a:pt x="591" y="4"/>
                  </a:lnTo>
                  <a:lnTo>
                    <a:pt x="583" y="6"/>
                  </a:lnTo>
                  <a:lnTo>
                    <a:pt x="575" y="11"/>
                  </a:lnTo>
                  <a:lnTo>
                    <a:pt x="567" y="15"/>
                  </a:lnTo>
                  <a:lnTo>
                    <a:pt x="561" y="20"/>
                  </a:lnTo>
                  <a:lnTo>
                    <a:pt x="554" y="25"/>
                  </a:lnTo>
                  <a:lnTo>
                    <a:pt x="548" y="32"/>
                  </a:lnTo>
                  <a:lnTo>
                    <a:pt x="543" y="39"/>
                  </a:lnTo>
                  <a:lnTo>
                    <a:pt x="538" y="47"/>
                  </a:lnTo>
                  <a:lnTo>
                    <a:pt x="535" y="55"/>
                  </a:lnTo>
                  <a:lnTo>
                    <a:pt x="531" y="63"/>
                  </a:lnTo>
                  <a:lnTo>
                    <a:pt x="529" y="72"/>
                  </a:lnTo>
                  <a:lnTo>
                    <a:pt x="528" y="81"/>
                  </a:lnTo>
                  <a:lnTo>
                    <a:pt x="528" y="90"/>
                  </a:lnTo>
                  <a:lnTo>
                    <a:pt x="529" y="105"/>
                  </a:lnTo>
                  <a:lnTo>
                    <a:pt x="532" y="118"/>
                  </a:lnTo>
                  <a:lnTo>
                    <a:pt x="537" y="131"/>
                  </a:lnTo>
                  <a:lnTo>
                    <a:pt x="545" y="142"/>
                  </a:lnTo>
                  <a:lnTo>
                    <a:pt x="388" y="298"/>
                  </a:lnTo>
                  <a:lnTo>
                    <a:pt x="379" y="293"/>
                  </a:lnTo>
                  <a:lnTo>
                    <a:pt x="369" y="289"/>
                  </a:lnTo>
                  <a:lnTo>
                    <a:pt x="358" y="286"/>
                  </a:lnTo>
                  <a:lnTo>
                    <a:pt x="347" y="285"/>
                  </a:lnTo>
                  <a:lnTo>
                    <a:pt x="339" y="286"/>
                  </a:lnTo>
                  <a:lnTo>
                    <a:pt x="331" y="287"/>
                  </a:lnTo>
                  <a:lnTo>
                    <a:pt x="325" y="289"/>
                  </a:lnTo>
                  <a:lnTo>
                    <a:pt x="318" y="292"/>
                  </a:lnTo>
                  <a:lnTo>
                    <a:pt x="311" y="294"/>
                  </a:lnTo>
                  <a:lnTo>
                    <a:pt x="304" y="299"/>
                  </a:lnTo>
                  <a:lnTo>
                    <a:pt x="299" y="303"/>
                  </a:lnTo>
                  <a:lnTo>
                    <a:pt x="294" y="308"/>
                  </a:lnTo>
                  <a:lnTo>
                    <a:pt x="288" y="313"/>
                  </a:lnTo>
                  <a:lnTo>
                    <a:pt x="284" y="319"/>
                  </a:lnTo>
                  <a:lnTo>
                    <a:pt x="281" y="325"/>
                  </a:lnTo>
                  <a:lnTo>
                    <a:pt x="277" y="332"/>
                  </a:lnTo>
                  <a:lnTo>
                    <a:pt x="275" y="338"/>
                  </a:lnTo>
                  <a:lnTo>
                    <a:pt x="273" y="346"/>
                  </a:lnTo>
                  <a:lnTo>
                    <a:pt x="271" y="353"/>
                  </a:lnTo>
                  <a:lnTo>
                    <a:pt x="271" y="361"/>
                  </a:lnTo>
                  <a:lnTo>
                    <a:pt x="273" y="372"/>
                  </a:lnTo>
                  <a:lnTo>
                    <a:pt x="275" y="383"/>
                  </a:lnTo>
                  <a:lnTo>
                    <a:pt x="278" y="393"/>
                  </a:lnTo>
                  <a:lnTo>
                    <a:pt x="284" y="403"/>
                  </a:lnTo>
                  <a:lnTo>
                    <a:pt x="134" y="553"/>
                  </a:lnTo>
                  <a:lnTo>
                    <a:pt x="124" y="547"/>
                  </a:lnTo>
                  <a:lnTo>
                    <a:pt x="113" y="545"/>
                  </a:lnTo>
                  <a:lnTo>
                    <a:pt x="102" y="543"/>
                  </a:lnTo>
                  <a:lnTo>
                    <a:pt x="91" y="542"/>
                  </a:lnTo>
                  <a:lnTo>
                    <a:pt x="82" y="542"/>
                  </a:lnTo>
                  <a:lnTo>
                    <a:pt x="73" y="544"/>
                  </a:lnTo>
                  <a:lnTo>
                    <a:pt x="64" y="546"/>
                  </a:lnTo>
                  <a:lnTo>
                    <a:pt x="56" y="548"/>
                  </a:lnTo>
                  <a:lnTo>
                    <a:pt x="48" y="553"/>
                  </a:lnTo>
                  <a:lnTo>
                    <a:pt x="40" y="557"/>
                  </a:lnTo>
                  <a:lnTo>
                    <a:pt x="33" y="562"/>
                  </a:lnTo>
                  <a:lnTo>
                    <a:pt x="26" y="568"/>
                  </a:lnTo>
                  <a:lnTo>
                    <a:pt x="21" y="574"/>
                  </a:lnTo>
                  <a:lnTo>
                    <a:pt x="16" y="581"/>
                  </a:lnTo>
                  <a:lnTo>
                    <a:pt x="12" y="589"/>
                  </a:lnTo>
                  <a:lnTo>
                    <a:pt x="7" y="597"/>
                  </a:lnTo>
                  <a:lnTo>
                    <a:pt x="5" y="605"/>
                  </a:lnTo>
                  <a:lnTo>
                    <a:pt x="3" y="614"/>
                  </a:lnTo>
                  <a:lnTo>
                    <a:pt x="0" y="623"/>
                  </a:lnTo>
                  <a:lnTo>
                    <a:pt x="0" y="632"/>
                  </a:lnTo>
                  <a:lnTo>
                    <a:pt x="0" y="641"/>
                  </a:lnTo>
                  <a:lnTo>
                    <a:pt x="3" y="650"/>
                  </a:lnTo>
                  <a:lnTo>
                    <a:pt x="5" y="659"/>
                  </a:lnTo>
                  <a:lnTo>
                    <a:pt x="7" y="667"/>
                  </a:lnTo>
                  <a:lnTo>
                    <a:pt x="12" y="675"/>
                  </a:lnTo>
                  <a:lnTo>
                    <a:pt x="16" y="683"/>
                  </a:lnTo>
                  <a:lnTo>
                    <a:pt x="21" y="690"/>
                  </a:lnTo>
                  <a:lnTo>
                    <a:pt x="26" y="696"/>
                  </a:lnTo>
                  <a:lnTo>
                    <a:pt x="33" y="702"/>
                  </a:lnTo>
                  <a:lnTo>
                    <a:pt x="40" y="706"/>
                  </a:lnTo>
                  <a:lnTo>
                    <a:pt x="48" y="711"/>
                  </a:lnTo>
                  <a:lnTo>
                    <a:pt x="56" y="716"/>
                  </a:lnTo>
                  <a:lnTo>
                    <a:pt x="64" y="718"/>
                  </a:lnTo>
                  <a:lnTo>
                    <a:pt x="73" y="720"/>
                  </a:lnTo>
                  <a:lnTo>
                    <a:pt x="82" y="722"/>
                  </a:lnTo>
                  <a:lnTo>
                    <a:pt x="91" y="722"/>
                  </a:lnTo>
                  <a:lnTo>
                    <a:pt x="100" y="722"/>
                  </a:lnTo>
                  <a:lnTo>
                    <a:pt x="109" y="720"/>
                  </a:lnTo>
                  <a:lnTo>
                    <a:pt x="118" y="718"/>
                  </a:lnTo>
                  <a:lnTo>
                    <a:pt x="126" y="716"/>
                  </a:lnTo>
                  <a:lnTo>
                    <a:pt x="134" y="711"/>
                  </a:lnTo>
                  <a:lnTo>
                    <a:pt x="142" y="706"/>
                  </a:lnTo>
                  <a:lnTo>
                    <a:pt x="148" y="702"/>
                  </a:lnTo>
                  <a:lnTo>
                    <a:pt x="155" y="696"/>
                  </a:lnTo>
                  <a:lnTo>
                    <a:pt x="161" y="690"/>
                  </a:lnTo>
                  <a:lnTo>
                    <a:pt x="165" y="683"/>
                  </a:lnTo>
                  <a:lnTo>
                    <a:pt x="170" y="675"/>
                  </a:lnTo>
                  <a:lnTo>
                    <a:pt x="174" y="667"/>
                  </a:lnTo>
                  <a:lnTo>
                    <a:pt x="177" y="659"/>
                  </a:lnTo>
                  <a:lnTo>
                    <a:pt x="179" y="650"/>
                  </a:lnTo>
                  <a:lnTo>
                    <a:pt x="181" y="641"/>
                  </a:lnTo>
                  <a:lnTo>
                    <a:pt x="181" y="632"/>
                  </a:lnTo>
                  <a:lnTo>
                    <a:pt x="181" y="623"/>
                  </a:lnTo>
                  <a:lnTo>
                    <a:pt x="180" y="615"/>
                  </a:lnTo>
                  <a:lnTo>
                    <a:pt x="178" y="607"/>
                  </a:lnTo>
                  <a:lnTo>
                    <a:pt x="174" y="599"/>
                  </a:lnTo>
                  <a:lnTo>
                    <a:pt x="171" y="591"/>
                  </a:lnTo>
                  <a:lnTo>
                    <a:pt x="168" y="585"/>
                  </a:lnTo>
                  <a:lnTo>
                    <a:pt x="163" y="578"/>
                  </a:lnTo>
                  <a:lnTo>
                    <a:pt x="157" y="571"/>
                  </a:lnTo>
                  <a:lnTo>
                    <a:pt x="305" y="424"/>
                  </a:lnTo>
                  <a:lnTo>
                    <a:pt x="316" y="430"/>
                  </a:lnTo>
                  <a:lnTo>
                    <a:pt x="328" y="433"/>
                  </a:lnTo>
                  <a:lnTo>
                    <a:pt x="314" y="457"/>
                  </a:lnTo>
                  <a:lnTo>
                    <a:pt x="303" y="483"/>
                  </a:lnTo>
                  <a:lnTo>
                    <a:pt x="294" y="510"/>
                  </a:lnTo>
                  <a:lnTo>
                    <a:pt x="286" y="538"/>
                  </a:lnTo>
                  <a:lnTo>
                    <a:pt x="279" y="568"/>
                  </a:lnTo>
                  <a:lnTo>
                    <a:pt x="275" y="598"/>
                  </a:lnTo>
                  <a:lnTo>
                    <a:pt x="273" y="630"/>
                  </a:lnTo>
                  <a:lnTo>
                    <a:pt x="271" y="662"/>
                  </a:lnTo>
                  <a:lnTo>
                    <a:pt x="271" y="753"/>
                  </a:lnTo>
                  <a:lnTo>
                    <a:pt x="226" y="753"/>
                  </a:lnTo>
                  <a:lnTo>
                    <a:pt x="223" y="753"/>
                  </a:lnTo>
                  <a:lnTo>
                    <a:pt x="221" y="754"/>
                  </a:lnTo>
                  <a:lnTo>
                    <a:pt x="218" y="755"/>
                  </a:lnTo>
                  <a:lnTo>
                    <a:pt x="216" y="757"/>
                  </a:lnTo>
                  <a:lnTo>
                    <a:pt x="214" y="760"/>
                  </a:lnTo>
                  <a:lnTo>
                    <a:pt x="213" y="762"/>
                  </a:lnTo>
                  <a:lnTo>
                    <a:pt x="212" y="764"/>
                  </a:lnTo>
                  <a:lnTo>
                    <a:pt x="212" y="767"/>
                  </a:lnTo>
                  <a:lnTo>
                    <a:pt x="212" y="888"/>
                  </a:lnTo>
                  <a:lnTo>
                    <a:pt x="212" y="891"/>
                  </a:lnTo>
                  <a:lnTo>
                    <a:pt x="213" y="894"/>
                  </a:lnTo>
                  <a:lnTo>
                    <a:pt x="214" y="896"/>
                  </a:lnTo>
                  <a:lnTo>
                    <a:pt x="216" y="898"/>
                  </a:lnTo>
                  <a:lnTo>
                    <a:pt x="218" y="901"/>
                  </a:lnTo>
                  <a:lnTo>
                    <a:pt x="221" y="902"/>
                  </a:lnTo>
                  <a:lnTo>
                    <a:pt x="223" y="903"/>
                  </a:lnTo>
                  <a:lnTo>
                    <a:pt x="226" y="903"/>
                  </a:lnTo>
                  <a:lnTo>
                    <a:pt x="347" y="903"/>
                  </a:lnTo>
                  <a:lnTo>
                    <a:pt x="349" y="903"/>
                  </a:lnTo>
                  <a:lnTo>
                    <a:pt x="353" y="902"/>
                  </a:lnTo>
                  <a:lnTo>
                    <a:pt x="355" y="901"/>
                  </a:lnTo>
                  <a:lnTo>
                    <a:pt x="357" y="898"/>
                  </a:lnTo>
                  <a:lnTo>
                    <a:pt x="360" y="896"/>
                  </a:lnTo>
                  <a:lnTo>
                    <a:pt x="361" y="894"/>
                  </a:lnTo>
                  <a:lnTo>
                    <a:pt x="362" y="891"/>
                  </a:lnTo>
                  <a:lnTo>
                    <a:pt x="362" y="888"/>
                  </a:lnTo>
                  <a:lnTo>
                    <a:pt x="362" y="767"/>
                  </a:lnTo>
                  <a:lnTo>
                    <a:pt x="362" y="764"/>
                  </a:lnTo>
                  <a:lnTo>
                    <a:pt x="361" y="762"/>
                  </a:lnTo>
                  <a:lnTo>
                    <a:pt x="360" y="760"/>
                  </a:lnTo>
                  <a:lnTo>
                    <a:pt x="357" y="757"/>
                  </a:lnTo>
                  <a:lnTo>
                    <a:pt x="355" y="755"/>
                  </a:lnTo>
                  <a:lnTo>
                    <a:pt x="353" y="754"/>
                  </a:lnTo>
                  <a:lnTo>
                    <a:pt x="349" y="753"/>
                  </a:lnTo>
                  <a:lnTo>
                    <a:pt x="347" y="753"/>
                  </a:lnTo>
                  <a:lnTo>
                    <a:pt x="302" y="753"/>
                  </a:lnTo>
                  <a:lnTo>
                    <a:pt x="302" y="662"/>
                  </a:lnTo>
                  <a:lnTo>
                    <a:pt x="303" y="629"/>
                  </a:lnTo>
                  <a:lnTo>
                    <a:pt x="305" y="597"/>
                  </a:lnTo>
                  <a:lnTo>
                    <a:pt x="310" y="566"/>
                  </a:lnTo>
                  <a:lnTo>
                    <a:pt x="317" y="537"/>
                  </a:lnTo>
                  <a:lnTo>
                    <a:pt x="326" y="509"/>
                  </a:lnTo>
                  <a:lnTo>
                    <a:pt x="336" y="482"/>
                  </a:lnTo>
                  <a:lnTo>
                    <a:pt x="343" y="469"/>
                  </a:lnTo>
                  <a:lnTo>
                    <a:pt x="348" y="457"/>
                  </a:lnTo>
                  <a:lnTo>
                    <a:pt x="355" y="446"/>
                  </a:lnTo>
                  <a:lnTo>
                    <a:pt x="363" y="434"/>
                  </a:lnTo>
                  <a:lnTo>
                    <a:pt x="373" y="431"/>
                  </a:lnTo>
                  <a:lnTo>
                    <a:pt x="383" y="426"/>
                  </a:lnTo>
                  <a:lnTo>
                    <a:pt x="393" y="420"/>
                  </a:lnTo>
                  <a:lnTo>
                    <a:pt x="401" y="413"/>
                  </a:lnTo>
                  <a:lnTo>
                    <a:pt x="408" y="404"/>
                  </a:lnTo>
                  <a:lnTo>
                    <a:pt x="414" y="395"/>
                  </a:lnTo>
                  <a:lnTo>
                    <a:pt x="418" y="383"/>
                  </a:lnTo>
                  <a:lnTo>
                    <a:pt x="421" y="372"/>
                  </a:lnTo>
                  <a:lnTo>
                    <a:pt x="433" y="364"/>
                  </a:lnTo>
                  <a:lnTo>
                    <a:pt x="445" y="356"/>
                  </a:lnTo>
                  <a:lnTo>
                    <a:pt x="458" y="348"/>
                  </a:lnTo>
                  <a:lnTo>
                    <a:pt x="471" y="342"/>
                  </a:lnTo>
                  <a:lnTo>
                    <a:pt x="485" y="335"/>
                  </a:lnTo>
                  <a:lnTo>
                    <a:pt x="498" y="329"/>
                  </a:lnTo>
                  <a:lnTo>
                    <a:pt x="513" y="324"/>
                  </a:lnTo>
                  <a:lnTo>
                    <a:pt x="529" y="319"/>
                  </a:lnTo>
                  <a:lnTo>
                    <a:pt x="544" y="315"/>
                  </a:lnTo>
                  <a:lnTo>
                    <a:pt x="559" y="311"/>
                  </a:lnTo>
                  <a:lnTo>
                    <a:pt x="576" y="308"/>
                  </a:lnTo>
                  <a:lnTo>
                    <a:pt x="593" y="306"/>
                  </a:lnTo>
                  <a:lnTo>
                    <a:pt x="610" y="303"/>
                  </a:lnTo>
                  <a:lnTo>
                    <a:pt x="627" y="302"/>
                  </a:lnTo>
                  <a:lnTo>
                    <a:pt x="645" y="301"/>
                  </a:lnTo>
                  <a:lnTo>
                    <a:pt x="663" y="301"/>
                  </a:lnTo>
                  <a:lnTo>
                    <a:pt x="754" y="301"/>
                  </a:lnTo>
                  <a:lnTo>
                    <a:pt x="754" y="346"/>
                  </a:lnTo>
                  <a:lnTo>
                    <a:pt x="754" y="348"/>
                  </a:lnTo>
                  <a:lnTo>
                    <a:pt x="755" y="352"/>
                  </a:lnTo>
                  <a:lnTo>
                    <a:pt x="756" y="354"/>
                  </a:lnTo>
                  <a:lnTo>
                    <a:pt x="758" y="356"/>
                  </a:lnTo>
                  <a:lnTo>
                    <a:pt x="761" y="359"/>
                  </a:lnTo>
                  <a:lnTo>
                    <a:pt x="763" y="360"/>
                  </a:lnTo>
                  <a:lnTo>
                    <a:pt x="765" y="361"/>
                  </a:lnTo>
                  <a:lnTo>
                    <a:pt x="768" y="361"/>
                  </a:lnTo>
                  <a:lnTo>
                    <a:pt x="889" y="361"/>
                  </a:lnTo>
                  <a:lnTo>
                    <a:pt x="892" y="361"/>
                  </a:lnTo>
                  <a:lnTo>
                    <a:pt x="895" y="360"/>
                  </a:lnTo>
                  <a:lnTo>
                    <a:pt x="897" y="359"/>
                  </a:lnTo>
                  <a:lnTo>
                    <a:pt x="899" y="356"/>
                  </a:lnTo>
                  <a:lnTo>
                    <a:pt x="902" y="354"/>
                  </a:lnTo>
                  <a:lnTo>
                    <a:pt x="903" y="352"/>
                  </a:lnTo>
                  <a:lnTo>
                    <a:pt x="904" y="348"/>
                  </a:lnTo>
                  <a:lnTo>
                    <a:pt x="904" y="346"/>
                  </a:lnTo>
                  <a:lnTo>
                    <a:pt x="904" y="225"/>
                  </a:lnTo>
                  <a:lnTo>
                    <a:pt x="904" y="222"/>
                  </a:lnTo>
                  <a:lnTo>
                    <a:pt x="903" y="220"/>
                  </a:lnTo>
                  <a:lnTo>
                    <a:pt x="902" y="217"/>
                  </a:lnTo>
                  <a:lnTo>
                    <a:pt x="899" y="215"/>
                  </a:lnTo>
                  <a:lnTo>
                    <a:pt x="897" y="213"/>
                  </a:lnTo>
                  <a:lnTo>
                    <a:pt x="895" y="212"/>
                  </a:lnTo>
                  <a:lnTo>
                    <a:pt x="892" y="211"/>
                  </a:lnTo>
                  <a:lnTo>
                    <a:pt x="889" y="2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b="1"/>
            </a:p>
          </p:txBody>
        </p:sp>
      </p:grpSp>
    </p:spTree>
    <p:extLst>
      <p:ext uri="{BB962C8B-B14F-4D97-AF65-F5344CB8AC3E}">
        <p14:creationId xmlns:p14="http://schemas.microsoft.com/office/powerpoint/2010/main" val="374557330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9F9C243-F6F9-4217-BE94-EDB2B74004C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A9F9C243-F6F9-4217-BE94-EDB2B74004C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727749-65AB-4FAC-AC8A-78D01F343C6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400">
              <a:latin typeface="Georgia" panose="02040502050405020303" pitchFamily="18" charset="0"/>
              <a:sym typeface="Georgia" panose="02040502050405020303" pitchFamily="18" charset="0"/>
            </a:endParaRPr>
          </a:p>
        </p:txBody>
      </p:sp>
      <p:sp>
        <p:nvSpPr>
          <p:cNvPr id="9" name="TextBox 8">
            <a:extLst>
              <a:ext uri="{FF2B5EF4-FFF2-40B4-BE49-F238E27FC236}">
                <a16:creationId xmlns:a16="http://schemas.microsoft.com/office/drawing/2014/main" id="{9091F50D-EB45-46FF-9F95-4F903BBE2788}"/>
              </a:ext>
            </a:extLst>
          </p:cNvPr>
          <p:cNvSpPr txBox="1"/>
          <p:nvPr/>
        </p:nvSpPr>
        <p:spPr>
          <a:xfrm>
            <a:off x="233082" y="251012"/>
            <a:ext cx="10941978" cy="523220"/>
          </a:xfrm>
          <a:prstGeom prst="rect">
            <a:avLst/>
          </a:prstGeom>
          <a:noFill/>
        </p:spPr>
        <p:txBody>
          <a:bodyPr wrap="square" rtlCol="0">
            <a:spAutoFit/>
          </a:bodyPr>
          <a:lstStyle/>
          <a:p>
            <a:r>
              <a:rPr lang="en-US" sz="2800" b="1">
                <a:latin typeface="Georgia" panose="02040502050405020303" pitchFamily="18" charset="0"/>
              </a:rPr>
              <a:t>FUTURE SCOPE</a:t>
            </a:r>
          </a:p>
        </p:txBody>
      </p:sp>
      <p:sp>
        <p:nvSpPr>
          <p:cNvPr id="3" name="TextBox 2">
            <a:extLst>
              <a:ext uri="{FF2B5EF4-FFF2-40B4-BE49-F238E27FC236}">
                <a16:creationId xmlns:a16="http://schemas.microsoft.com/office/drawing/2014/main" id="{BF2711C0-036C-4694-8F01-832F0473876F}"/>
              </a:ext>
            </a:extLst>
          </p:cNvPr>
          <p:cNvSpPr txBox="1"/>
          <p:nvPr/>
        </p:nvSpPr>
        <p:spPr>
          <a:xfrm>
            <a:off x="361507" y="1984125"/>
            <a:ext cx="11053082" cy="2862322"/>
          </a:xfrm>
          <a:prstGeom prst="rect">
            <a:avLst/>
          </a:prstGeom>
          <a:noFill/>
        </p:spPr>
        <p:txBody>
          <a:bodyPr wrap="square" rtlCol="0">
            <a:spAutoFit/>
          </a:bodyPr>
          <a:lstStyle/>
          <a:p>
            <a:pPr marL="285750" indent="-285750">
              <a:buFont typeface="Calibri" panose="020F0502020204030204" pitchFamily="34" charset="0"/>
              <a:buChar char="₪"/>
            </a:pPr>
            <a:r>
              <a:rPr lang="en-US" b="1" dirty="0">
                <a:latin typeface="Georgia" panose="02040502050405020303" pitchFamily="18" charset="0"/>
              </a:rPr>
              <a:t>Manufacturing Cost of Product –</a:t>
            </a:r>
            <a:r>
              <a:rPr lang="en-US" dirty="0">
                <a:latin typeface="Georgia" panose="02040502050405020303" pitchFamily="18" charset="0"/>
              </a:rPr>
              <a:t> We can calculate product margin, use it in the analysis and optimization to improve the model</a:t>
            </a:r>
          </a:p>
          <a:p>
            <a:pPr marL="285750" indent="-285750">
              <a:buFont typeface="Calibri" panose="020F0502020204030204" pitchFamily="34" charset="0"/>
              <a:buChar char="₪"/>
            </a:pPr>
            <a:endParaRPr lang="en-US" dirty="0">
              <a:latin typeface="Georgia" panose="02040502050405020303" pitchFamily="18" charset="0"/>
            </a:endParaRPr>
          </a:p>
          <a:p>
            <a:endParaRPr lang="en-US" dirty="0">
              <a:latin typeface="Georgia" panose="02040502050405020303" pitchFamily="18" charset="0"/>
            </a:endParaRPr>
          </a:p>
          <a:p>
            <a:pPr marL="285750" indent="-285750">
              <a:buFont typeface="Calibri" panose="020F0502020204030204" pitchFamily="34" charset="0"/>
              <a:buChar char="₪"/>
            </a:pPr>
            <a:r>
              <a:rPr lang="en-US" b="1" dirty="0">
                <a:latin typeface="Georgia" panose="02040502050405020303" pitchFamily="18" charset="0"/>
              </a:rPr>
              <a:t>Store wise analysis –</a:t>
            </a:r>
            <a:r>
              <a:rPr lang="en-US" dirty="0">
                <a:latin typeface="Georgia" panose="02040502050405020303" pitchFamily="18" charset="0"/>
              </a:rPr>
              <a:t> Analyzing transactions from individual stores to identify demographic data to provide personalized promotional recommendations to boost sales</a:t>
            </a:r>
          </a:p>
          <a:p>
            <a:pPr marL="285750" indent="-285750">
              <a:buFont typeface="Calibri" panose="020F0502020204030204" pitchFamily="34" charset="0"/>
              <a:buChar char="₪"/>
            </a:pPr>
            <a:endParaRPr lang="en-US" dirty="0">
              <a:latin typeface="Georgia" panose="02040502050405020303" pitchFamily="18" charset="0"/>
            </a:endParaRPr>
          </a:p>
          <a:p>
            <a:endParaRPr lang="en-US" dirty="0">
              <a:latin typeface="Georgia" panose="02040502050405020303" pitchFamily="18" charset="0"/>
            </a:endParaRPr>
          </a:p>
          <a:p>
            <a:pPr marL="285750" indent="-285750">
              <a:buFont typeface="Calibri" panose="020F0502020204030204" pitchFamily="34" charset="0"/>
              <a:buChar char="₪"/>
            </a:pPr>
            <a:r>
              <a:rPr lang="en-US" b="1" dirty="0">
                <a:latin typeface="Georgia" panose="02040502050405020303" pitchFamily="18" charset="0"/>
              </a:rPr>
              <a:t>Customer Transaction Analysis –</a:t>
            </a:r>
            <a:r>
              <a:rPr lang="en-US" dirty="0">
                <a:latin typeface="Georgia" panose="02040502050405020303" pitchFamily="18" charset="0"/>
              </a:rPr>
              <a:t> If we obtain transactional data of customer spending, we can use Market Basket Analysis to uncover associations between items</a:t>
            </a:r>
          </a:p>
        </p:txBody>
      </p:sp>
      <p:sp>
        <p:nvSpPr>
          <p:cNvPr id="6" name="Rectangle 5">
            <a:extLst>
              <a:ext uri="{FF2B5EF4-FFF2-40B4-BE49-F238E27FC236}">
                <a16:creationId xmlns:a16="http://schemas.microsoft.com/office/drawing/2014/main" id="{199E85D1-5910-435D-A51D-60F418209E72}"/>
              </a:ext>
            </a:extLst>
          </p:cNvPr>
          <p:cNvSpPr/>
          <p:nvPr/>
        </p:nvSpPr>
        <p:spPr>
          <a:xfrm>
            <a:off x="400050" y="6812280"/>
            <a:ext cx="11791579" cy="4572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a:t>
            </a:r>
          </a:p>
        </p:txBody>
      </p:sp>
      <p:pic>
        <p:nvPicPr>
          <p:cNvPr id="7" name="Graphic 6" descr="Toothpaste">
            <a:extLst>
              <a:ext uri="{FF2B5EF4-FFF2-40B4-BE49-F238E27FC236}">
                <a16:creationId xmlns:a16="http://schemas.microsoft.com/office/drawing/2014/main" id="{809FA8E8-D372-4304-8199-2BBD195DFB60}"/>
              </a:ext>
            </a:extLst>
          </p:cNvPr>
          <p:cNvPicPr>
            <a:picLocks noChangeAspect="1"/>
          </p:cNvPicPr>
          <p:nvPr/>
        </p:nvPicPr>
        <p:blipFill>
          <a:blip r:embed="rId7" cstate="hq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6219692">
            <a:off x="-34366" y="6088478"/>
            <a:ext cx="598153" cy="598153"/>
          </a:xfrm>
          <a:prstGeom prst="rect">
            <a:avLst/>
          </a:prstGeom>
        </p:spPr>
      </p:pic>
      <p:pic>
        <p:nvPicPr>
          <p:cNvPr id="8" name="Graphic 7" descr="Snake">
            <a:extLst>
              <a:ext uri="{FF2B5EF4-FFF2-40B4-BE49-F238E27FC236}">
                <a16:creationId xmlns:a16="http://schemas.microsoft.com/office/drawing/2014/main" id="{685835A3-7596-4411-B75B-9DB646506E1E}"/>
              </a:ext>
            </a:extLst>
          </p:cNvPr>
          <p:cNvPicPr>
            <a:picLocks noChangeAspect="1"/>
          </p:cNvPicPr>
          <p:nvPr/>
        </p:nvPicPr>
        <p:blipFill rotWithShape="1">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rcRect l="-2" t="56027" r="47111"/>
          <a:stretch/>
        </p:blipFill>
        <p:spPr>
          <a:xfrm rot="7001259">
            <a:off x="297005" y="6680310"/>
            <a:ext cx="336423" cy="279713"/>
          </a:xfrm>
          <a:prstGeom prst="rect">
            <a:avLst/>
          </a:prstGeom>
        </p:spPr>
      </p:pic>
    </p:spTree>
    <p:extLst>
      <p:ext uri="{BB962C8B-B14F-4D97-AF65-F5344CB8AC3E}">
        <p14:creationId xmlns:p14="http://schemas.microsoft.com/office/powerpoint/2010/main" val="280407351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ight Triangle 4">
            <a:extLst>
              <a:ext uri="{FF2B5EF4-FFF2-40B4-BE49-F238E27FC236}">
                <a16:creationId xmlns:a16="http://schemas.microsoft.com/office/drawing/2014/main" id="{0230B4A8-42BC-44F2-8424-DB025E09840C}"/>
              </a:ext>
            </a:extLst>
          </p:cNvPr>
          <p:cNvSpPr/>
          <p:nvPr/>
        </p:nvSpPr>
        <p:spPr>
          <a:xfrm flipH="1">
            <a:off x="4928838" y="0"/>
            <a:ext cx="7263161" cy="6857999"/>
          </a:xfrm>
          <a:prstGeom prst="rtTriangl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rapezoid 5">
            <a:extLst>
              <a:ext uri="{FF2B5EF4-FFF2-40B4-BE49-F238E27FC236}">
                <a16:creationId xmlns:a16="http://schemas.microsoft.com/office/drawing/2014/main" id="{362A30F9-E859-4834-8C11-58A839DCC689}"/>
              </a:ext>
            </a:extLst>
          </p:cNvPr>
          <p:cNvSpPr/>
          <p:nvPr/>
        </p:nvSpPr>
        <p:spPr>
          <a:xfrm>
            <a:off x="3962400" y="0"/>
            <a:ext cx="7824440" cy="6857999"/>
          </a:xfrm>
          <a:prstGeom prst="trapezoid">
            <a:avLst>
              <a:gd name="adj" fmla="val 64309"/>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Isosceles Triangle 7">
            <a:extLst>
              <a:ext uri="{FF2B5EF4-FFF2-40B4-BE49-F238E27FC236}">
                <a16:creationId xmlns:a16="http://schemas.microsoft.com/office/drawing/2014/main" id="{26ACC312-B3EF-4D95-836D-2893E512D694}"/>
              </a:ext>
            </a:extLst>
          </p:cNvPr>
          <p:cNvSpPr/>
          <p:nvPr/>
        </p:nvSpPr>
        <p:spPr>
          <a:xfrm flipV="1">
            <a:off x="7874000" y="-2"/>
            <a:ext cx="4317999" cy="2865864"/>
          </a:xfrm>
          <a:prstGeom prst="triangle">
            <a:avLst>
              <a:gd name="adj" fmla="val 37959"/>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2" name="Picture 3" descr="Image result for purdue krannert">
            <a:extLst>
              <a:ext uri="{FF2B5EF4-FFF2-40B4-BE49-F238E27FC236}">
                <a16:creationId xmlns:a16="http://schemas.microsoft.com/office/drawing/2014/main" id="{22B0B614-2168-4BC0-A57B-90F6C12372A9}"/>
              </a:ext>
            </a:extLst>
          </p:cNvPr>
          <p:cNvPicPr>
            <a:picLocks noChangeAspect="1" noChangeArrowheads="1"/>
          </p:cNvPicPr>
          <p:nvPr/>
        </p:nvPicPr>
        <p:blipFill>
          <a:blip r:embed="rId2" cstate="hqprint">
            <a:extLst>
              <a:ext uri="{28A0092B-C50C-407E-A947-70E740481C1C}">
                <a14:useLocalDpi xmlns:a14="http://schemas.microsoft.com/office/drawing/2010/main" val="0"/>
              </a:ext>
            </a:extLst>
          </a:blip>
          <a:srcRect/>
          <a:stretch>
            <a:fillRect/>
          </a:stretch>
        </p:blipFill>
        <p:spPr bwMode="auto">
          <a:xfrm>
            <a:off x="10998011" y="6266638"/>
            <a:ext cx="1139559" cy="571555"/>
          </a:xfrm>
          <a:prstGeom prst="rect">
            <a:avLst/>
          </a:prstGeom>
          <a:noFill/>
          <a:extLst>
            <a:ext uri="{909E8E84-426E-40DD-AFC4-6F175D3DCCD1}">
              <a14:hiddenFill xmlns:a14="http://schemas.microsoft.com/office/drawing/2010/main">
                <a:solidFill>
                  <a:srgbClr val="FFFFFF"/>
                </a:solidFill>
              </a14:hiddenFill>
            </a:ext>
          </a:extLst>
        </p:spPr>
      </p:pic>
      <p:sp>
        <p:nvSpPr>
          <p:cNvPr id="34" name="TextBox 33">
            <a:extLst>
              <a:ext uri="{FF2B5EF4-FFF2-40B4-BE49-F238E27FC236}">
                <a16:creationId xmlns:a16="http://schemas.microsoft.com/office/drawing/2014/main" id="{20D5DF74-A0B6-4FDF-BCD5-92CAB4E8EEEF}"/>
              </a:ext>
            </a:extLst>
          </p:cNvPr>
          <p:cNvSpPr txBox="1"/>
          <p:nvPr/>
        </p:nvSpPr>
        <p:spPr>
          <a:xfrm>
            <a:off x="233082" y="251012"/>
            <a:ext cx="10941978" cy="523220"/>
          </a:xfrm>
          <a:prstGeom prst="rect">
            <a:avLst/>
          </a:prstGeom>
          <a:noFill/>
        </p:spPr>
        <p:txBody>
          <a:bodyPr wrap="square" rtlCol="0">
            <a:spAutoFit/>
          </a:bodyPr>
          <a:lstStyle/>
          <a:p>
            <a:r>
              <a:rPr lang="en-US" sz="2800" b="1">
                <a:latin typeface="Georgia" panose="02040502050405020303" pitchFamily="18" charset="0"/>
              </a:rPr>
              <a:t>OUR TEAM</a:t>
            </a:r>
          </a:p>
        </p:txBody>
      </p:sp>
      <p:sp>
        <p:nvSpPr>
          <p:cNvPr id="35" name="Rectangle 34">
            <a:extLst>
              <a:ext uri="{FF2B5EF4-FFF2-40B4-BE49-F238E27FC236}">
                <a16:creationId xmlns:a16="http://schemas.microsoft.com/office/drawing/2014/main" id="{AE871734-D6DA-4E42-AD4E-32AD28D91C75}"/>
              </a:ext>
            </a:extLst>
          </p:cNvPr>
          <p:cNvSpPr/>
          <p:nvPr/>
        </p:nvSpPr>
        <p:spPr>
          <a:xfrm>
            <a:off x="0" y="882962"/>
            <a:ext cx="12192000" cy="3379619"/>
          </a:xfrm>
          <a:prstGeom prst="rect">
            <a:avLst/>
          </a:prstGeom>
          <a:solidFill>
            <a:schemeClr val="tx1">
              <a:lumMod val="95000"/>
            </a:schemeClr>
          </a:solid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6" name="Picture 35">
            <a:extLst>
              <a:ext uri="{FF2B5EF4-FFF2-40B4-BE49-F238E27FC236}">
                <a16:creationId xmlns:a16="http://schemas.microsoft.com/office/drawing/2014/main" id="{AFDCCF03-41AA-466A-A091-26107874FE64}"/>
              </a:ext>
            </a:extLst>
          </p:cNvPr>
          <p:cNvPicPr preferRelativeResize="0">
            <a:picLocks/>
          </p:cNvPicPr>
          <p:nvPr/>
        </p:nvPicPr>
        <p:blipFill>
          <a:blip r:embed="rId3">
            <a:extLst>
              <a:ext uri="{28A0092B-C50C-407E-A947-70E740481C1C}">
                <a14:useLocalDpi xmlns:a14="http://schemas.microsoft.com/office/drawing/2010/main" val="0"/>
              </a:ext>
            </a:extLst>
          </a:blip>
          <a:srcRect/>
          <a:stretch/>
        </p:blipFill>
        <p:spPr>
          <a:xfrm>
            <a:off x="3026696" y="1460877"/>
            <a:ext cx="1502413" cy="2132989"/>
          </a:xfrm>
          <a:prstGeom prst="rect">
            <a:avLst/>
          </a:prstGeom>
        </p:spPr>
      </p:pic>
      <p:pic>
        <p:nvPicPr>
          <p:cNvPr id="37" name="Picture 36">
            <a:extLst>
              <a:ext uri="{FF2B5EF4-FFF2-40B4-BE49-F238E27FC236}">
                <a16:creationId xmlns:a16="http://schemas.microsoft.com/office/drawing/2014/main" id="{142FEF8A-98E1-4610-8EB8-62C9E4B525EE}"/>
              </a:ext>
            </a:extLst>
          </p:cNvPr>
          <p:cNvPicPr preferRelativeResize="0">
            <a:picLocks/>
          </p:cNvPicPr>
          <p:nvPr/>
        </p:nvPicPr>
        <p:blipFill rotWithShape="1">
          <a:blip r:embed="rId4">
            <a:extLst>
              <a:ext uri="{28A0092B-C50C-407E-A947-70E740481C1C}">
                <a14:useLocalDpi xmlns:a14="http://schemas.microsoft.com/office/drawing/2010/main" val="0"/>
              </a:ext>
            </a:extLst>
          </a:blip>
          <a:srcRect/>
          <a:stretch/>
        </p:blipFill>
        <p:spPr>
          <a:xfrm>
            <a:off x="5344743" y="1460877"/>
            <a:ext cx="1502413" cy="2132989"/>
          </a:xfrm>
          <a:prstGeom prst="rect">
            <a:avLst/>
          </a:prstGeom>
        </p:spPr>
      </p:pic>
      <p:pic>
        <p:nvPicPr>
          <p:cNvPr id="38" name="Picture 5">
            <a:extLst>
              <a:ext uri="{FF2B5EF4-FFF2-40B4-BE49-F238E27FC236}">
                <a16:creationId xmlns:a16="http://schemas.microsoft.com/office/drawing/2014/main" id="{9979C0CD-D401-412F-930E-CE63C026624A}"/>
              </a:ext>
            </a:extLst>
          </p:cNvPr>
          <p:cNvPicPr preferRelativeResize="0">
            <a:picLocks/>
          </p:cNvPicPr>
          <p:nvPr/>
        </p:nvPicPr>
        <p:blipFill rotWithShape="1">
          <a:blip r:embed="rId5">
            <a:extLst>
              <a:ext uri="{28A0092B-C50C-407E-A947-70E740481C1C}">
                <a14:useLocalDpi xmlns:a14="http://schemas.microsoft.com/office/drawing/2010/main" val="0"/>
              </a:ext>
            </a:extLst>
          </a:blip>
          <a:srcRect/>
          <a:stretch/>
        </p:blipFill>
        <p:spPr>
          <a:xfrm>
            <a:off x="9980191" y="1460877"/>
            <a:ext cx="1503804" cy="2127201"/>
          </a:xfrm>
          <a:prstGeom prst="rect">
            <a:avLst/>
          </a:prstGeom>
        </p:spPr>
      </p:pic>
      <p:sp>
        <p:nvSpPr>
          <p:cNvPr id="39" name="TextBox 38">
            <a:extLst>
              <a:ext uri="{FF2B5EF4-FFF2-40B4-BE49-F238E27FC236}">
                <a16:creationId xmlns:a16="http://schemas.microsoft.com/office/drawing/2014/main" id="{A5D5E14C-143E-4489-BCC4-44BB30D3C824}"/>
              </a:ext>
            </a:extLst>
          </p:cNvPr>
          <p:cNvSpPr txBox="1"/>
          <p:nvPr/>
        </p:nvSpPr>
        <p:spPr>
          <a:xfrm>
            <a:off x="3050306" y="3678954"/>
            <a:ext cx="1455191"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chemeClr val="bg1"/>
                </a:solidFill>
                <a:effectLst/>
                <a:uLnTx/>
                <a:uFillTx/>
                <a:latin typeface="Calibri" panose="020F0502020204030204"/>
                <a:ea typeface="+mn-ea"/>
                <a:cs typeface="+mn-cs"/>
              </a:rPr>
              <a:t>Xuanming Hu</a:t>
            </a:r>
          </a:p>
        </p:txBody>
      </p:sp>
      <p:sp>
        <p:nvSpPr>
          <p:cNvPr id="40" name="TextBox 39">
            <a:extLst>
              <a:ext uri="{FF2B5EF4-FFF2-40B4-BE49-F238E27FC236}">
                <a16:creationId xmlns:a16="http://schemas.microsoft.com/office/drawing/2014/main" id="{A56F3C38-A481-47E1-9250-36214FCFA316}"/>
              </a:ext>
            </a:extLst>
          </p:cNvPr>
          <p:cNvSpPr txBox="1"/>
          <p:nvPr/>
        </p:nvSpPr>
        <p:spPr>
          <a:xfrm>
            <a:off x="252697" y="3678954"/>
            <a:ext cx="2284080"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chemeClr val="bg1"/>
                </a:solidFill>
                <a:effectLst/>
                <a:uLnTx/>
                <a:uFillTx/>
                <a:latin typeface="Calibri" panose="020F0502020204030204"/>
                <a:ea typeface="+mn-ea"/>
                <a:cs typeface="+mn-cs"/>
              </a:rPr>
              <a:t>Rahul Raj</a:t>
            </a:r>
          </a:p>
        </p:txBody>
      </p:sp>
      <p:sp>
        <p:nvSpPr>
          <p:cNvPr id="41" name="TextBox 40">
            <a:extLst>
              <a:ext uri="{FF2B5EF4-FFF2-40B4-BE49-F238E27FC236}">
                <a16:creationId xmlns:a16="http://schemas.microsoft.com/office/drawing/2014/main" id="{97AB9C62-5C60-4EE6-A878-58EE1C1C9A9A}"/>
              </a:ext>
            </a:extLst>
          </p:cNvPr>
          <p:cNvSpPr txBox="1"/>
          <p:nvPr/>
        </p:nvSpPr>
        <p:spPr>
          <a:xfrm>
            <a:off x="5105399" y="3678954"/>
            <a:ext cx="1928775"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chemeClr val="bg1"/>
                </a:solidFill>
                <a:effectLst/>
                <a:uLnTx/>
                <a:uFillTx/>
                <a:latin typeface="Calibri" panose="020F0502020204030204"/>
                <a:ea typeface="+mn-ea"/>
                <a:cs typeface="+mn-cs"/>
              </a:rPr>
              <a:t>Vinitha Ravindran</a:t>
            </a:r>
          </a:p>
        </p:txBody>
      </p:sp>
      <p:sp>
        <p:nvSpPr>
          <p:cNvPr id="42" name="TextBox 41">
            <a:extLst>
              <a:ext uri="{FF2B5EF4-FFF2-40B4-BE49-F238E27FC236}">
                <a16:creationId xmlns:a16="http://schemas.microsoft.com/office/drawing/2014/main" id="{C2BF651A-E370-4BF8-9DAC-B0B291A7854D}"/>
              </a:ext>
            </a:extLst>
          </p:cNvPr>
          <p:cNvSpPr txBox="1"/>
          <p:nvPr/>
        </p:nvSpPr>
        <p:spPr>
          <a:xfrm>
            <a:off x="7388989" y="3678954"/>
            <a:ext cx="2284080"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chemeClr val="bg1"/>
                </a:solidFill>
                <a:effectLst/>
                <a:uLnTx/>
                <a:uFillTx/>
                <a:latin typeface="Calibri" panose="020F0502020204030204"/>
                <a:ea typeface="+mn-ea"/>
                <a:cs typeface="+mn-cs"/>
              </a:rPr>
              <a:t>Siddharth Harisankar</a:t>
            </a:r>
          </a:p>
        </p:txBody>
      </p:sp>
      <p:sp>
        <p:nvSpPr>
          <p:cNvPr id="43" name="TextBox 42">
            <a:extLst>
              <a:ext uri="{FF2B5EF4-FFF2-40B4-BE49-F238E27FC236}">
                <a16:creationId xmlns:a16="http://schemas.microsoft.com/office/drawing/2014/main" id="{329F54FA-8AD2-4916-9F02-FDAEC032F637}"/>
              </a:ext>
            </a:extLst>
          </p:cNvPr>
          <p:cNvSpPr txBox="1"/>
          <p:nvPr/>
        </p:nvSpPr>
        <p:spPr>
          <a:xfrm>
            <a:off x="10033394" y="3678954"/>
            <a:ext cx="2284080"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chemeClr val="bg1"/>
                </a:solidFill>
                <a:effectLst/>
                <a:uLnTx/>
                <a:uFillTx/>
                <a:latin typeface="Calibri" panose="020F0502020204030204"/>
                <a:ea typeface="+mn-ea"/>
                <a:cs typeface="+mn-cs"/>
              </a:rPr>
              <a:t>Mehul Zawar</a:t>
            </a:r>
          </a:p>
        </p:txBody>
      </p:sp>
      <p:pic>
        <p:nvPicPr>
          <p:cNvPr id="44" name="Picture 43">
            <a:extLst>
              <a:ext uri="{FF2B5EF4-FFF2-40B4-BE49-F238E27FC236}">
                <a16:creationId xmlns:a16="http://schemas.microsoft.com/office/drawing/2014/main" id="{F8592923-1914-4EA4-AD9A-D2803B87F336}"/>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710262" y="1460877"/>
            <a:ext cx="1499186" cy="2132989"/>
          </a:xfrm>
          <a:prstGeom prst="rect">
            <a:avLst/>
          </a:prstGeom>
        </p:spPr>
      </p:pic>
      <p:pic>
        <p:nvPicPr>
          <p:cNvPr id="45" name="Picture 44">
            <a:extLst>
              <a:ext uri="{FF2B5EF4-FFF2-40B4-BE49-F238E27FC236}">
                <a16:creationId xmlns:a16="http://schemas.microsoft.com/office/drawing/2014/main" id="{ED3832EC-3045-464A-BD4A-33D6B95A2B65}"/>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7664828" y="1504210"/>
            <a:ext cx="1498336" cy="2040535"/>
          </a:xfrm>
          <a:prstGeom prst="rect">
            <a:avLst/>
          </a:prstGeom>
        </p:spPr>
      </p:pic>
      <p:sp>
        <p:nvSpPr>
          <p:cNvPr id="46" name="TextBox 45">
            <a:extLst>
              <a:ext uri="{FF2B5EF4-FFF2-40B4-BE49-F238E27FC236}">
                <a16:creationId xmlns:a16="http://schemas.microsoft.com/office/drawing/2014/main" id="{B1F38B55-00F8-4B59-BA52-41A382023DBB}"/>
              </a:ext>
            </a:extLst>
          </p:cNvPr>
          <p:cNvSpPr txBox="1"/>
          <p:nvPr/>
        </p:nvSpPr>
        <p:spPr>
          <a:xfrm>
            <a:off x="384471" y="4600575"/>
            <a:ext cx="11702754" cy="523220"/>
          </a:xfrm>
          <a:prstGeom prst="rect">
            <a:avLst/>
          </a:prstGeom>
          <a:noFill/>
        </p:spPr>
        <p:txBody>
          <a:bodyPr wrap="square" rtlCol="0">
            <a:spAutoFit/>
          </a:bodyPr>
          <a:lstStyle/>
          <a:p>
            <a:r>
              <a:rPr lang="en-US" altLang="en-US" sz="2800">
                <a:latin typeface="Georgia" panose="02040502050405020303" pitchFamily="18" charset="0"/>
                <a:cs typeface="Calibri"/>
              </a:rPr>
              <a:t>15+ years of cumulative experience in Analytics and Consulting domain</a:t>
            </a:r>
            <a:endParaRPr lang="en-US" altLang="en-US" sz="2800">
              <a:latin typeface="Georgia" panose="02040502050405020303" pitchFamily="18" charset="0"/>
            </a:endParaRPr>
          </a:p>
        </p:txBody>
      </p:sp>
      <p:sp>
        <p:nvSpPr>
          <p:cNvPr id="20" name="Rectangle 19">
            <a:extLst>
              <a:ext uri="{FF2B5EF4-FFF2-40B4-BE49-F238E27FC236}">
                <a16:creationId xmlns:a16="http://schemas.microsoft.com/office/drawing/2014/main" id="{7BFFADA3-707A-4606-B8ED-9BFB6275CDBF}"/>
              </a:ext>
            </a:extLst>
          </p:cNvPr>
          <p:cNvSpPr/>
          <p:nvPr/>
        </p:nvSpPr>
        <p:spPr>
          <a:xfrm>
            <a:off x="400050" y="6812280"/>
            <a:ext cx="11791579" cy="4572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a:t>
            </a:r>
          </a:p>
        </p:txBody>
      </p:sp>
      <p:pic>
        <p:nvPicPr>
          <p:cNvPr id="21" name="Graphic 20" descr="Toothpaste">
            <a:extLst>
              <a:ext uri="{FF2B5EF4-FFF2-40B4-BE49-F238E27FC236}">
                <a16:creationId xmlns:a16="http://schemas.microsoft.com/office/drawing/2014/main" id="{33604114-D5F9-462B-BB39-A85901DA75B9}"/>
              </a:ext>
            </a:extLst>
          </p:cNvPr>
          <p:cNvPicPr>
            <a:picLocks noChangeAspect="1"/>
          </p:cNvPicPr>
          <p:nvPr/>
        </p:nvPicPr>
        <p:blipFill>
          <a:blip r:embed="rId8" cstate="hq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rot="6219692">
            <a:off x="-34366" y="6088478"/>
            <a:ext cx="598153" cy="598153"/>
          </a:xfrm>
          <a:prstGeom prst="rect">
            <a:avLst/>
          </a:prstGeom>
        </p:spPr>
      </p:pic>
      <p:pic>
        <p:nvPicPr>
          <p:cNvPr id="22" name="Graphic 21" descr="Snake">
            <a:extLst>
              <a:ext uri="{FF2B5EF4-FFF2-40B4-BE49-F238E27FC236}">
                <a16:creationId xmlns:a16="http://schemas.microsoft.com/office/drawing/2014/main" id="{F6FB2381-340E-42F9-932F-9B1A51D7C53D}"/>
              </a:ext>
            </a:extLst>
          </p:cNvPr>
          <p:cNvPicPr>
            <a:picLocks noChangeAspect="1"/>
          </p:cNvPicPr>
          <p:nvPr/>
        </p:nvPicPr>
        <p:blipFill rotWithShape="1">
          <a:blip r:embed="rId10" cstate="hqprint">
            <a:extLst>
              <a:ext uri="{28A0092B-C50C-407E-A947-70E740481C1C}">
                <a14:useLocalDpi xmlns:a14="http://schemas.microsoft.com/office/drawing/2010/main" val="0"/>
              </a:ext>
              <a:ext uri="{96DAC541-7B7A-43D3-8B79-37D633B846F1}">
                <asvg:svgBlip xmlns:asvg="http://schemas.microsoft.com/office/drawing/2016/SVG/main" r:embed="rId11"/>
              </a:ext>
            </a:extLst>
          </a:blip>
          <a:srcRect l="-2" t="56027" r="47111"/>
          <a:stretch/>
        </p:blipFill>
        <p:spPr>
          <a:xfrm rot="7001259">
            <a:off x="297005" y="6680310"/>
            <a:ext cx="336423" cy="279713"/>
          </a:xfrm>
          <a:prstGeom prst="rect">
            <a:avLst/>
          </a:prstGeom>
        </p:spPr>
      </p:pic>
    </p:spTree>
    <p:extLst>
      <p:ext uri="{BB962C8B-B14F-4D97-AF65-F5344CB8AC3E}">
        <p14:creationId xmlns:p14="http://schemas.microsoft.com/office/powerpoint/2010/main" val="28777921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ight Triangle 4">
            <a:extLst>
              <a:ext uri="{FF2B5EF4-FFF2-40B4-BE49-F238E27FC236}">
                <a16:creationId xmlns:a16="http://schemas.microsoft.com/office/drawing/2014/main" id="{0230B4A8-42BC-44F2-8424-DB025E09840C}"/>
              </a:ext>
            </a:extLst>
          </p:cNvPr>
          <p:cNvSpPr/>
          <p:nvPr/>
        </p:nvSpPr>
        <p:spPr>
          <a:xfrm flipH="1">
            <a:off x="4928838" y="0"/>
            <a:ext cx="7263161" cy="6857999"/>
          </a:xfrm>
          <a:prstGeom prst="rtTriangl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rapezoid 5">
            <a:extLst>
              <a:ext uri="{FF2B5EF4-FFF2-40B4-BE49-F238E27FC236}">
                <a16:creationId xmlns:a16="http://schemas.microsoft.com/office/drawing/2014/main" id="{362A30F9-E859-4834-8C11-58A839DCC689}"/>
              </a:ext>
            </a:extLst>
          </p:cNvPr>
          <p:cNvSpPr/>
          <p:nvPr/>
        </p:nvSpPr>
        <p:spPr>
          <a:xfrm>
            <a:off x="3962400" y="0"/>
            <a:ext cx="7824440" cy="6857999"/>
          </a:xfrm>
          <a:prstGeom prst="trapezoid">
            <a:avLst>
              <a:gd name="adj" fmla="val 64309"/>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Isosceles Triangle 7">
            <a:extLst>
              <a:ext uri="{FF2B5EF4-FFF2-40B4-BE49-F238E27FC236}">
                <a16:creationId xmlns:a16="http://schemas.microsoft.com/office/drawing/2014/main" id="{26ACC312-B3EF-4D95-836D-2893E512D694}"/>
              </a:ext>
            </a:extLst>
          </p:cNvPr>
          <p:cNvSpPr/>
          <p:nvPr/>
        </p:nvSpPr>
        <p:spPr>
          <a:xfrm flipV="1">
            <a:off x="7874000" y="-2"/>
            <a:ext cx="4317999" cy="2865864"/>
          </a:xfrm>
          <a:prstGeom prst="triangle">
            <a:avLst>
              <a:gd name="adj" fmla="val 37959"/>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 name="Group 2">
            <a:extLst>
              <a:ext uri="{FF2B5EF4-FFF2-40B4-BE49-F238E27FC236}">
                <a16:creationId xmlns:a16="http://schemas.microsoft.com/office/drawing/2014/main" id="{1DE82A48-A6B9-4357-A745-2EE71B55F262}"/>
              </a:ext>
            </a:extLst>
          </p:cNvPr>
          <p:cNvGrpSpPr/>
          <p:nvPr/>
        </p:nvGrpSpPr>
        <p:grpSpPr>
          <a:xfrm>
            <a:off x="891672" y="1355491"/>
            <a:ext cx="2044685" cy="4663440"/>
            <a:chOff x="770541" y="1355491"/>
            <a:chExt cx="2044685" cy="4663440"/>
          </a:xfrm>
        </p:grpSpPr>
        <p:sp>
          <p:nvSpPr>
            <p:cNvPr id="10" name="Trapezoid 9">
              <a:extLst>
                <a:ext uri="{FF2B5EF4-FFF2-40B4-BE49-F238E27FC236}">
                  <a16:creationId xmlns:a16="http://schemas.microsoft.com/office/drawing/2014/main" id="{F23F44BD-2AD0-49CB-A758-7D27871C6EA1}"/>
                </a:ext>
                <a:ext uri="{C183D7F6-B498-43B3-948B-1728B52AA6E4}">
                  <adec:decorative xmlns:adec="http://schemas.microsoft.com/office/drawing/2017/decorative" val="1"/>
                </a:ext>
              </a:extLst>
            </p:cNvPr>
            <p:cNvSpPr/>
            <p:nvPr/>
          </p:nvSpPr>
          <p:spPr>
            <a:xfrm rot="5400000">
              <a:off x="-538836" y="2664868"/>
              <a:ext cx="4663440" cy="2044685"/>
            </a:xfrm>
            <a:prstGeom prst="trapezoid">
              <a:avLst/>
            </a:prstGeom>
            <a:solidFill>
              <a:srgbClr val="26859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8" name="Rectangle 17">
              <a:extLst>
                <a:ext uri="{FF2B5EF4-FFF2-40B4-BE49-F238E27FC236}">
                  <a16:creationId xmlns:a16="http://schemas.microsoft.com/office/drawing/2014/main" id="{E4B6C700-EF56-4535-93A6-090DDB829A79}"/>
                </a:ext>
              </a:extLst>
            </p:cNvPr>
            <p:cNvSpPr/>
            <p:nvPr/>
          </p:nvSpPr>
          <p:spPr>
            <a:xfrm>
              <a:off x="993304" y="4489514"/>
              <a:ext cx="1537775" cy="830997"/>
            </a:xfrm>
            <a:prstGeom prst="rect">
              <a:avLst/>
            </a:prstGeom>
          </p:spPr>
          <p:txBody>
            <a:bodyPr wrap="square" lIns="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1">
                  <a:solidFill>
                    <a:schemeClr val="bg1"/>
                  </a:solidFill>
                  <a:latin typeface="Book Antiqua" panose="02040602050305030304" pitchFamily="18" charset="0"/>
                </a:rPr>
                <a:t>Introduction and Problem Statement</a:t>
              </a:r>
            </a:p>
          </p:txBody>
        </p:sp>
        <p:sp>
          <p:nvSpPr>
            <p:cNvPr id="20" name="Freeform 1676" descr="Icon of check box. ">
              <a:extLst>
                <a:ext uri="{FF2B5EF4-FFF2-40B4-BE49-F238E27FC236}">
                  <a16:creationId xmlns:a16="http://schemas.microsoft.com/office/drawing/2014/main" id="{6385CC93-13F0-482B-BECE-A7B82F5EA8E6}"/>
                </a:ext>
              </a:extLst>
            </p:cNvPr>
            <p:cNvSpPr>
              <a:spLocks noEditPoints="1"/>
            </p:cNvSpPr>
            <p:nvPr/>
          </p:nvSpPr>
          <p:spPr bwMode="auto">
            <a:xfrm>
              <a:off x="1201778" y="2997373"/>
              <a:ext cx="1199054" cy="1199054"/>
            </a:xfrm>
            <a:custGeom>
              <a:avLst/>
              <a:gdLst>
                <a:gd name="T0" fmla="*/ 374 w 719"/>
                <a:gd name="T1" fmla="*/ 267 h 719"/>
                <a:gd name="T2" fmla="*/ 366 w 719"/>
                <a:gd name="T3" fmla="*/ 263 h 719"/>
                <a:gd name="T4" fmla="*/ 362 w 719"/>
                <a:gd name="T5" fmla="*/ 254 h 719"/>
                <a:gd name="T6" fmla="*/ 366 w 719"/>
                <a:gd name="T7" fmla="*/ 247 h 719"/>
                <a:gd name="T8" fmla="*/ 374 w 719"/>
                <a:gd name="T9" fmla="*/ 243 h 719"/>
                <a:gd name="T10" fmla="*/ 621 w 719"/>
                <a:gd name="T11" fmla="*/ 244 h 719"/>
                <a:gd name="T12" fmla="*/ 627 w 719"/>
                <a:gd name="T13" fmla="*/ 250 h 719"/>
                <a:gd name="T14" fmla="*/ 627 w 719"/>
                <a:gd name="T15" fmla="*/ 260 h 719"/>
                <a:gd name="T16" fmla="*/ 621 w 719"/>
                <a:gd name="T17" fmla="*/ 265 h 719"/>
                <a:gd name="T18" fmla="*/ 616 w 719"/>
                <a:gd name="T19" fmla="*/ 528 h 719"/>
                <a:gd name="T20" fmla="*/ 370 w 719"/>
                <a:gd name="T21" fmla="*/ 527 h 719"/>
                <a:gd name="T22" fmla="*/ 363 w 719"/>
                <a:gd name="T23" fmla="*/ 521 h 719"/>
                <a:gd name="T24" fmla="*/ 363 w 719"/>
                <a:gd name="T25" fmla="*/ 512 h 719"/>
                <a:gd name="T26" fmla="*/ 370 w 719"/>
                <a:gd name="T27" fmla="*/ 505 h 719"/>
                <a:gd name="T28" fmla="*/ 616 w 719"/>
                <a:gd name="T29" fmla="*/ 504 h 719"/>
                <a:gd name="T30" fmla="*/ 625 w 719"/>
                <a:gd name="T31" fmla="*/ 507 h 719"/>
                <a:gd name="T32" fmla="*/ 628 w 719"/>
                <a:gd name="T33" fmla="*/ 516 h 719"/>
                <a:gd name="T34" fmla="*/ 625 w 719"/>
                <a:gd name="T35" fmla="*/ 525 h 719"/>
                <a:gd name="T36" fmla="*/ 616 w 719"/>
                <a:gd name="T37" fmla="*/ 528 h 719"/>
                <a:gd name="T38" fmla="*/ 171 w 719"/>
                <a:gd name="T39" fmla="*/ 279 h 719"/>
                <a:gd name="T40" fmla="*/ 164 w 719"/>
                <a:gd name="T41" fmla="*/ 282 h 719"/>
                <a:gd name="T42" fmla="*/ 155 w 719"/>
                <a:gd name="T43" fmla="*/ 279 h 719"/>
                <a:gd name="T44" fmla="*/ 92 w 719"/>
                <a:gd name="T45" fmla="*/ 214 h 719"/>
                <a:gd name="T46" fmla="*/ 92 w 719"/>
                <a:gd name="T47" fmla="*/ 205 h 719"/>
                <a:gd name="T48" fmla="*/ 98 w 719"/>
                <a:gd name="T49" fmla="*/ 198 h 719"/>
                <a:gd name="T50" fmla="*/ 107 w 719"/>
                <a:gd name="T51" fmla="*/ 198 h 719"/>
                <a:gd name="T52" fmla="*/ 164 w 719"/>
                <a:gd name="T53" fmla="*/ 253 h 719"/>
                <a:gd name="T54" fmla="*/ 309 w 719"/>
                <a:gd name="T55" fmla="*/ 109 h 719"/>
                <a:gd name="T56" fmla="*/ 318 w 719"/>
                <a:gd name="T57" fmla="*/ 109 h 719"/>
                <a:gd name="T58" fmla="*/ 325 w 719"/>
                <a:gd name="T59" fmla="*/ 114 h 719"/>
                <a:gd name="T60" fmla="*/ 325 w 719"/>
                <a:gd name="T61" fmla="*/ 124 h 719"/>
                <a:gd name="T62" fmla="*/ 323 w 719"/>
                <a:gd name="T63" fmla="*/ 414 h 719"/>
                <a:gd name="T64" fmla="*/ 168 w 719"/>
                <a:gd name="T65" fmla="*/ 568 h 719"/>
                <a:gd name="T66" fmla="*/ 158 w 719"/>
                <a:gd name="T67" fmla="*/ 568 h 719"/>
                <a:gd name="T68" fmla="*/ 94 w 719"/>
                <a:gd name="T69" fmla="*/ 505 h 719"/>
                <a:gd name="T70" fmla="*/ 91 w 719"/>
                <a:gd name="T71" fmla="*/ 497 h 719"/>
                <a:gd name="T72" fmla="*/ 94 w 719"/>
                <a:gd name="T73" fmla="*/ 488 h 719"/>
                <a:gd name="T74" fmla="*/ 103 w 719"/>
                <a:gd name="T75" fmla="*/ 485 h 719"/>
                <a:gd name="T76" fmla="*/ 111 w 719"/>
                <a:gd name="T77" fmla="*/ 488 h 719"/>
                <a:gd name="T78" fmla="*/ 306 w 719"/>
                <a:gd name="T79" fmla="*/ 397 h 719"/>
                <a:gd name="T80" fmla="*/ 314 w 719"/>
                <a:gd name="T81" fmla="*/ 394 h 719"/>
                <a:gd name="T82" fmla="*/ 323 w 719"/>
                <a:gd name="T83" fmla="*/ 398 h 719"/>
                <a:gd name="T84" fmla="*/ 326 w 719"/>
                <a:gd name="T85" fmla="*/ 406 h 719"/>
                <a:gd name="T86" fmla="*/ 323 w 719"/>
                <a:gd name="T87" fmla="*/ 414 h 719"/>
                <a:gd name="T88" fmla="*/ 12 w 719"/>
                <a:gd name="T89" fmla="*/ 0 h 719"/>
                <a:gd name="T90" fmla="*/ 3 w 719"/>
                <a:gd name="T91" fmla="*/ 5 h 719"/>
                <a:gd name="T92" fmla="*/ 0 w 719"/>
                <a:gd name="T93" fmla="*/ 13 h 719"/>
                <a:gd name="T94" fmla="*/ 1 w 719"/>
                <a:gd name="T95" fmla="*/ 713 h 719"/>
                <a:gd name="T96" fmla="*/ 8 w 719"/>
                <a:gd name="T97" fmla="*/ 719 h 719"/>
                <a:gd name="T98" fmla="*/ 707 w 719"/>
                <a:gd name="T99" fmla="*/ 719 h 719"/>
                <a:gd name="T100" fmla="*/ 716 w 719"/>
                <a:gd name="T101" fmla="*/ 716 h 719"/>
                <a:gd name="T102" fmla="*/ 719 w 719"/>
                <a:gd name="T103" fmla="*/ 707 h 719"/>
                <a:gd name="T104" fmla="*/ 718 w 719"/>
                <a:gd name="T105" fmla="*/ 8 h 719"/>
                <a:gd name="T106" fmla="*/ 711 w 719"/>
                <a:gd name="T107" fmla="*/ 2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19" h="719">
                  <a:moveTo>
                    <a:pt x="616" y="267"/>
                  </a:moveTo>
                  <a:lnTo>
                    <a:pt x="374" y="267"/>
                  </a:lnTo>
                  <a:lnTo>
                    <a:pt x="370" y="265"/>
                  </a:lnTo>
                  <a:lnTo>
                    <a:pt x="366" y="263"/>
                  </a:lnTo>
                  <a:lnTo>
                    <a:pt x="363" y="260"/>
                  </a:lnTo>
                  <a:lnTo>
                    <a:pt x="362" y="254"/>
                  </a:lnTo>
                  <a:lnTo>
                    <a:pt x="363" y="250"/>
                  </a:lnTo>
                  <a:lnTo>
                    <a:pt x="366" y="247"/>
                  </a:lnTo>
                  <a:lnTo>
                    <a:pt x="370" y="244"/>
                  </a:lnTo>
                  <a:lnTo>
                    <a:pt x="374" y="243"/>
                  </a:lnTo>
                  <a:lnTo>
                    <a:pt x="616" y="243"/>
                  </a:lnTo>
                  <a:lnTo>
                    <a:pt x="621" y="244"/>
                  </a:lnTo>
                  <a:lnTo>
                    <a:pt x="625" y="247"/>
                  </a:lnTo>
                  <a:lnTo>
                    <a:pt x="627" y="250"/>
                  </a:lnTo>
                  <a:lnTo>
                    <a:pt x="628" y="254"/>
                  </a:lnTo>
                  <a:lnTo>
                    <a:pt x="627" y="260"/>
                  </a:lnTo>
                  <a:lnTo>
                    <a:pt x="625" y="263"/>
                  </a:lnTo>
                  <a:lnTo>
                    <a:pt x="621" y="265"/>
                  </a:lnTo>
                  <a:lnTo>
                    <a:pt x="616" y="267"/>
                  </a:lnTo>
                  <a:close/>
                  <a:moveTo>
                    <a:pt x="616" y="528"/>
                  </a:moveTo>
                  <a:lnTo>
                    <a:pt x="374" y="528"/>
                  </a:lnTo>
                  <a:lnTo>
                    <a:pt x="370" y="527"/>
                  </a:lnTo>
                  <a:lnTo>
                    <a:pt x="366" y="525"/>
                  </a:lnTo>
                  <a:lnTo>
                    <a:pt x="363" y="521"/>
                  </a:lnTo>
                  <a:lnTo>
                    <a:pt x="362" y="516"/>
                  </a:lnTo>
                  <a:lnTo>
                    <a:pt x="363" y="512"/>
                  </a:lnTo>
                  <a:lnTo>
                    <a:pt x="366" y="507"/>
                  </a:lnTo>
                  <a:lnTo>
                    <a:pt x="370" y="505"/>
                  </a:lnTo>
                  <a:lnTo>
                    <a:pt x="374" y="504"/>
                  </a:lnTo>
                  <a:lnTo>
                    <a:pt x="616" y="504"/>
                  </a:lnTo>
                  <a:lnTo>
                    <a:pt x="621" y="505"/>
                  </a:lnTo>
                  <a:lnTo>
                    <a:pt x="625" y="507"/>
                  </a:lnTo>
                  <a:lnTo>
                    <a:pt x="627" y="512"/>
                  </a:lnTo>
                  <a:lnTo>
                    <a:pt x="628" y="516"/>
                  </a:lnTo>
                  <a:lnTo>
                    <a:pt x="627" y="521"/>
                  </a:lnTo>
                  <a:lnTo>
                    <a:pt x="625" y="525"/>
                  </a:lnTo>
                  <a:lnTo>
                    <a:pt x="621" y="527"/>
                  </a:lnTo>
                  <a:lnTo>
                    <a:pt x="616" y="528"/>
                  </a:lnTo>
                  <a:close/>
                  <a:moveTo>
                    <a:pt x="323" y="127"/>
                  </a:moveTo>
                  <a:lnTo>
                    <a:pt x="171" y="279"/>
                  </a:lnTo>
                  <a:lnTo>
                    <a:pt x="168" y="282"/>
                  </a:lnTo>
                  <a:lnTo>
                    <a:pt x="164" y="282"/>
                  </a:lnTo>
                  <a:lnTo>
                    <a:pt x="158" y="282"/>
                  </a:lnTo>
                  <a:lnTo>
                    <a:pt x="155" y="279"/>
                  </a:lnTo>
                  <a:lnTo>
                    <a:pt x="94" y="218"/>
                  </a:lnTo>
                  <a:lnTo>
                    <a:pt x="92" y="214"/>
                  </a:lnTo>
                  <a:lnTo>
                    <a:pt x="91" y="209"/>
                  </a:lnTo>
                  <a:lnTo>
                    <a:pt x="92" y="205"/>
                  </a:lnTo>
                  <a:lnTo>
                    <a:pt x="94" y="201"/>
                  </a:lnTo>
                  <a:lnTo>
                    <a:pt x="98" y="198"/>
                  </a:lnTo>
                  <a:lnTo>
                    <a:pt x="103" y="197"/>
                  </a:lnTo>
                  <a:lnTo>
                    <a:pt x="107" y="198"/>
                  </a:lnTo>
                  <a:lnTo>
                    <a:pt x="111" y="201"/>
                  </a:lnTo>
                  <a:lnTo>
                    <a:pt x="164" y="253"/>
                  </a:lnTo>
                  <a:lnTo>
                    <a:pt x="306" y="111"/>
                  </a:lnTo>
                  <a:lnTo>
                    <a:pt x="309" y="109"/>
                  </a:lnTo>
                  <a:lnTo>
                    <a:pt x="314" y="108"/>
                  </a:lnTo>
                  <a:lnTo>
                    <a:pt x="318" y="109"/>
                  </a:lnTo>
                  <a:lnTo>
                    <a:pt x="323" y="111"/>
                  </a:lnTo>
                  <a:lnTo>
                    <a:pt x="325" y="114"/>
                  </a:lnTo>
                  <a:lnTo>
                    <a:pt x="326" y="119"/>
                  </a:lnTo>
                  <a:lnTo>
                    <a:pt x="325" y="124"/>
                  </a:lnTo>
                  <a:lnTo>
                    <a:pt x="323" y="127"/>
                  </a:lnTo>
                  <a:close/>
                  <a:moveTo>
                    <a:pt x="323" y="414"/>
                  </a:moveTo>
                  <a:lnTo>
                    <a:pt x="171" y="565"/>
                  </a:lnTo>
                  <a:lnTo>
                    <a:pt x="168" y="568"/>
                  </a:lnTo>
                  <a:lnTo>
                    <a:pt x="164" y="569"/>
                  </a:lnTo>
                  <a:lnTo>
                    <a:pt x="158" y="568"/>
                  </a:lnTo>
                  <a:lnTo>
                    <a:pt x="155" y="565"/>
                  </a:lnTo>
                  <a:lnTo>
                    <a:pt x="94" y="505"/>
                  </a:lnTo>
                  <a:lnTo>
                    <a:pt x="92" y="502"/>
                  </a:lnTo>
                  <a:lnTo>
                    <a:pt x="91" y="497"/>
                  </a:lnTo>
                  <a:lnTo>
                    <a:pt x="92" y="493"/>
                  </a:lnTo>
                  <a:lnTo>
                    <a:pt x="94" y="488"/>
                  </a:lnTo>
                  <a:lnTo>
                    <a:pt x="98" y="486"/>
                  </a:lnTo>
                  <a:lnTo>
                    <a:pt x="103" y="485"/>
                  </a:lnTo>
                  <a:lnTo>
                    <a:pt x="107" y="486"/>
                  </a:lnTo>
                  <a:lnTo>
                    <a:pt x="111" y="488"/>
                  </a:lnTo>
                  <a:lnTo>
                    <a:pt x="164" y="540"/>
                  </a:lnTo>
                  <a:lnTo>
                    <a:pt x="306" y="397"/>
                  </a:lnTo>
                  <a:lnTo>
                    <a:pt x="309" y="395"/>
                  </a:lnTo>
                  <a:lnTo>
                    <a:pt x="314" y="394"/>
                  </a:lnTo>
                  <a:lnTo>
                    <a:pt x="318" y="395"/>
                  </a:lnTo>
                  <a:lnTo>
                    <a:pt x="323" y="398"/>
                  </a:lnTo>
                  <a:lnTo>
                    <a:pt x="325" y="401"/>
                  </a:lnTo>
                  <a:lnTo>
                    <a:pt x="326" y="406"/>
                  </a:lnTo>
                  <a:lnTo>
                    <a:pt x="325" y="410"/>
                  </a:lnTo>
                  <a:lnTo>
                    <a:pt x="323" y="414"/>
                  </a:lnTo>
                  <a:close/>
                  <a:moveTo>
                    <a:pt x="707" y="0"/>
                  </a:moveTo>
                  <a:lnTo>
                    <a:pt x="12" y="0"/>
                  </a:lnTo>
                  <a:lnTo>
                    <a:pt x="8" y="2"/>
                  </a:lnTo>
                  <a:lnTo>
                    <a:pt x="3" y="5"/>
                  </a:lnTo>
                  <a:lnTo>
                    <a:pt x="1" y="8"/>
                  </a:lnTo>
                  <a:lnTo>
                    <a:pt x="0" y="13"/>
                  </a:lnTo>
                  <a:lnTo>
                    <a:pt x="0" y="707"/>
                  </a:lnTo>
                  <a:lnTo>
                    <a:pt x="1" y="713"/>
                  </a:lnTo>
                  <a:lnTo>
                    <a:pt x="3" y="716"/>
                  </a:lnTo>
                  <a:lnTo>
                    <a:pt x="8" y="719"/>
                  </a:lnTo>
                  <a:lnTo>
                    <a:pt x="12" y="719"/>
                  </a:lnTo>
                  <a:lnTo>
                    <a:pt x="707" y="719"/>
                  </a:lnTo>
                  <a:lnTo>
                    <a:pt x="711" y="719"/>
                  </a:lnTo>
                  <a:lnTo>
                    <a:pt x="716" y="716"/>
                  </a:lnTo>
                  <a:lnTo>
                    <a:pt x="718" y="713"/>
                  </a:lnTo>
                  <a:lnTo>
                    <a:pt x="719" y="707"/>
                  </a:lnTo>
                  <a:lnTo>
                    <a:pt x="719" y="13"/>
                  </a:lnTo>
                  <a:lnTo>
                    <a:pt x="718" y="8"/>
                  </a:lnTo>
                  <a:lnTo>
                    <a:pt x="716" y="5"/>
                  </a:lnTo>
                  <a:lnTo>
                    <a:pt x="711" y="2"/>
                  </a:lnTo>
                  <a:lnTo>
                    <a:pt x="707"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b="1"/>
            </a:p>
          </p:txBody>
        </p:sp>
      </p:grpSp>
      <p:sp>
        <p:nvSpPr>
          <p:cNvPr id="28" name="Rectangle 27">
            <a:extLst>
              <a:ext uri="{FF2B5EF4-FFF2-40B4-BE49-F238E27FC236}">
                <a16:creationId xmlns:a16="http://schemas.microsoft.com/office/drawing/2014/main" id="{B193A39B-8E2C-4D91-94F8-99E2573FF0D1}"/>
              </a:ext>
            </a:extLst>
          </p:cNvPr>
          <p:cNvSpPr/>
          <p:nvPr/>
        </p:nvSpPr>
        <p:spPr>
          <a:xfrm>
            <a:off x="3078480" y="3745043"/>
            <a:ext cx="1805305" cy="612925"/>
          </a:xfrm>
          <a:prstGeom prst="rect">
            <a:avLst/>
          </a:prstGeom>
        </p:spPr>
        <p:txBody>
          <a:bodyPr wrap="square" lIns="0" tIns="0" rIns="0" bIns="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42900" indent="-342900">
              <a:lnSpc>
                <a:spcPct val="150000"/>
              </a:lnSpc>
              <a:buAutoNum type="arabicPeriod"/>
            </a:pPr>
            <a:endParaRPr lang="en-US" sz="1400">
              <a:solidFill>
                <a:schemeClr val="bg1"/>
              </a:solidFill>
              <a:cs typeface="Segoe UI" panose="020B0502040204020203" pitchFamily="34" charset="0"/>
            </a:endParaRPr>
          </a:p>
          <a:p>
            <a:pPr marL="342900" indent="-342900">
              <a:lnSpc>
                <a:spcPct val="150000"/>
              </a:lnSpc>
              <a:buAutoNum type="arabicPeriod"/>
            </a:pPr>
            <a:endParaRPr lang="en-US" sz="1400">
              <a:solidFill>
                <a:schemeClr val="bg1"/>
              </a:solidFill>
              <a:cs typeface="Segoe UI" panose="020B0502040204020203" pitchFamily="34" charset="0"/>
            </a:endParaRPr>
          </a:p>
        </p:txBody>
      </p:sp>
      <p:pic>
        <p:nvPicPr>
          <p:cNvPr id="32" name="Picture 3" descr="Image result for purdue krannert">
            <a:extLst>
              <a:ext uri="{FF2B5EF4-FFF2-40B4-BE49-F238E27FC236}">
                <a16:creationId xmlns:a16="http://schemas.microsoft.com/office/drawing/2014/main" id="{22B0B614-2168-4BC0-A57B-90F6C12372A9}"/>
              </a:ext>
            </a:extLst>
          </p:cNvPr>
          <p:cNvPicPr>
            <a:picLocks noChangeAspect="1" noChangeArrowheads="1"/>
          </p:cNvPicPr>
          <p:nvPr/>
        </p:nvPicPr>
        <p:blipFill>
          <a:blip r:embed="rId2" cstate="hqprint">
            <a:extLst>
              <a:ext uri="{28A0092B-C50C-407E-A947-70E740481C1C}">
                <a14:useLocalDpi xmlns:a14="http://schemas.microsoft.com/office/drawing/2010/main" val="0"/>
              </a:ext>
            </a:extLst>
          </a:blip>
          <a:srcRect/>
          <a:stretch>
            <a:fillRect/>
          </a:stretch>
        </p:blipFill>
        <p:spPr bwMode="auto">
          <a:xfrm>
            <a:off x="10998011" y="6266638"/>
            <a:ext cx="1139559" cy="571555"/>
          </a:xfrm>
          <a:prstGeom prst="rect">
            <a:avLst/>
          </a:prstGeom>
          <a:noFill/>
          <a:extLst>
            <a:ext uri="{909E8E84-426E-40DD-AFC4-6F175D3DCCD1}">
              <a14:hiddenFill xmlns:a14="http://schemas.microsoft.com/office/drawing/2010/main">
                <a:solidFill>
                  <a:srgbClr val="FFFFFF"/>
                </a:solidFill>
              </a14:hiddenFill>
            </a:ext>
          </a:extLst>
        </p:spPr>
      </p:pic>
      <p:sp>
        <p:nvSpPr>
          <p:cNvPr id="34" name="TextBox 33">
            <a:extLst>
              <a:ext uri="{FF2B5EF4-FFF2-40B4-BE49-F238E27FC236}">
                <a16:creationId xmlns:a16="http://schemas.microsoft.com/office/drawing/2014/main" id="{20D5DF74-A0B6-4FDF-BCD5-92CAB4E8EEEF}"/>
              </a:ext>
            </a:extLst>
          </p:cNvPr>
          <p:cNvSpPr txBox="1"/>
          <p:nvPr/>
        </p:nvSpPr>
        <p:spPr>
          <a:xfrm>
            <a:off x="233082" y="251012"/>
            <a:ext cx="10941978" cy="523220"/>
          </a:xfrm>
          <a:prstGeom prst="rect">
            <a:avLst/>
          </a:prstGeom>
          <a:noFill/>
        </p:spPr>
        <p:txBody>
          <a:bodyPr wrap="square" rtlCol="0">
            <a:spAutoFit/>
          </a:bodyPr>
          <a:lstStyle/>
          <a:p>
            <a:r>
              <a:rPr lang="en-US" sz="2800" b="1">
                <a:latin typeface="Georgia" panose="02040502050405020303" pitchFamily="18" charset="0"/>
              </a:rPr>
              <a:t>AGENDA</a:t>
            </a:r>
          </a:p>
        </p:txBody>
      </p:sp>
      <p:sp>
        <p:nvSpPr>
          <p:cNvPr id="35" name="Rectangle 34">
            <a:extLst>
              <a:ext uri="{FF2B5EF4-FFF2-40B4-BE49-F238E27FC236}">
                <a16:creationId xmlns:a16="http://schemas.microsoft.com/office/drawing/2014/main" id="{63C355C1-BDC9-4C94-9E16-D72C0E46BA1B}"/>
              </a:ext>
            </a:extLst>
          </p:cNvPr>
          <p:cNvSpPr/>
          <p:nvPr/>
        </p:nvSpPr>
        <p:spPr>
          <a:xfrm>
            <a:off x="400050" y="6812280"/>
            <a:ext cx="11791579" cy="4572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a:t>
            </a:r>
          </a:p>
        </p:txBody>
      </p:sp>
      <p:pic>
        <p:nvPicPr>
          <p:cNvPr id="36" name="Graphic 35" descr="Toothpaste">
            <a:extLst>
              <a:ext uri="{FF2B5EF4-FFF2-40B4-BE49-F238E27FC236}">
                <a16:creationId xmlns:a16="http://schemas.microsoft.com/office/drawing/2014/main" id="{EC329E47-FF83-47E4-B506-8325D652BDC5}"/>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6219692">
            <a:off x="-34366" y="6088478"/>
            <a:ext cx="598153" cy="598153"/>
          </a:xfrm>
          <a:prstGeom prst="rect">
            <a:avLst/>
          </a:prstGeom>
        </p:spPr>
      </p:pic>
      <p:pic>
        <p:nvPicPr>
          <p:cNvPr id="37" name="Graphic 36" descr="Snake">
            <a:extLst>
              <a:ext uri="{FF2B5EF4-FFF2-40B4-BE49-F238E27FC236}">
                <a16:creationId xmlns:a16="http://schemas.microsoft.com/office/drawing/2014/main" id="{F855B1C3-7E68-4E3B-985F-051BA62C34B1}"/>
              </a:ext>
            </a:extLst>
          </p:cNvPr>
          <p:cNvPicPr>
            <a:picLocks noChangeAspect="1"/>
          </p:cNvPicPr>
          <p:nvPr/>
        </p:nvPicPr>
        <p:blipFill rotWithShape="1">
          <a:blip r:embed="rId5" cstate="hq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l="-2" t="56027" r="47111"/>
          <a:stretch/>
        </p:blipFill>
        <p:spPr>
          <a:xfrm rot="7001259">
            <a:off x="297005" y="6680310"/>
            <a:ext cx="336423" cy="279713"/>
          </a:xfrm>
          <a:prstGeom prst="rect">
            <a:avLst/>
          </a:prstGeom>
        </p:spPr>
      </p:pic>
      <p:grpSp>
        <p:nvGrpSpPr>
          <p:cNvPr id="39" name="Group 38">
            <a:extLst>
              <a:ext uri="{FF2B5EF4-FFF2-40B4-BE49-F238E27FC236}">
                <a16:creationId xmlns:a16="http://schemas.microsoft.com/office/drawing/2014/main" id="{2FC1E2F5-1C11-4092-B17F-4A1EB8E21E7C}"/>
              </a:ext>
            </a:extLst>
          </p:cNvPr>
          <p:cNvGrpSpPr/>
          <p:nvPr/>
        </p:nvGrpSpPr>
        <p:grpSpPr>
          <a:xfrm>
            <a:off x="4978172" y="1355491"/>
            <a:ext cx="2044685" cy="4663440"/>
            <a:chOff x="7270936" y="1355491"/>
            <a:chExt cx="2044685" cy="4663440"/>
          </a:xfrm>
        </p:grpSpPr>
        <p:sp>
          <p:nvSpPr>
            <p:cNvPr id="40" name="Trapezoid 39">
              <a:extLst>
                <a:ext uri="{FF2B5EF4-FFF2-40B4-BE49-F238E27FC236}">
                  <a16:creationId xmlns:a16="http://schemas.microsoft.com/office/drawing/2014/main" id="{EAC00B9B-16C2-4E7A-AE2D-E2FBA63AB08E}"/>
                </a:ext>
                <a:ext uri="{C183D7F6-B498-43B3-948B-1728B52AA6E4}">
                  <adec:decorative xmlns:adec="http://schemas.microsoft.com/office/drawing/2017/decorative" val="1"/>
                </a:ext>
              </a:extLst>
            </p:cNvPr>
            <p:cNvSpPr/>
            <p:nvPr/>
          </p:nvSpPr>
          <p:spPr>
            <a:xfrm rot="5400000">
              <a:off x="5961559" y="2664868"/>
              <a:ext cx="4663440" cy="2044685"/>
            </a:xfrm>
            <a:prstGeom prst="trapezoid">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41" name="Rectangle 40">
              <a:extLst>
                <a:ext uri="{FF2B5EF4-FFF2-40B4-BE49-F238E27FC236}">
                  <a16:creationId xmlns:a16="http://schemas.microsoft.com/office/drawing/2014/main" id="{7B426CD3-CAD0-4B68-B767-5C5E5124FA6D}"/>
                </a:ext>
              </a:extLst>
            </p:cNvPr>
            <p:cNvSpPr/>
            <p:nvPr/>
          </p:nvSpPr>
          <p:spPr>
            <a:xfrm>
              <a:off x="7489868" y="4490752"/>
              <a:ext cx="1508760" cy="553998"/>
            </a:xfrm>
            <a:prstGeom prst="rect">
              <a:avLst/>
            </a:prstGeom>
          </p:spPr>
          <p:txBody>
            <a:bodyPr wrap="square" lIns="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1">
                  <a:solidFill>
                    <a:schemeClr val="bg1"/>
                  </a:solidFill>
                  <a:latin typeface="Book Antiqua" panose="02040602050305030304" pitchFamily="18" charset="0"/>
                </a:rPr>
                <a:t>Modeling and Results</a:t>
              </a:r>
            </a:p>
          </p:txBody>
        </p:sp>
        <p:sp>
          <p:nvSpPr>
            <p:cNvPr id="42" name="Freeform 4665" descr="Icon of graph. ">
              <a:extLst>
                <a:ext uri="{FF2B5EF4-FFF2-40B4-BE49-F238E27FC236}">
                  <a16:creationId xmlns:a16="http://schemas.microsoft.com/office/drawing/2014/main" id="{51BE8723-E427-4B9E-95A2-4B9B157DAE1A}"/>
                </a:ext>
              </a:extLst>
            </p:cNvPr>
            <p:cNvSpPr>
              <a:spLocks/>
            </p:cNvSpPr>
            <p:nvPr/>
          </p:nvSpPr>
          <p:spPr bwMode="auto">
            <a:xfrm>
              <a:off x="7715846" y="2842273"/>
              <a:ext cx="1371600" cy="1371600"/>
            </a:xfrm>
            <a:custGeom>
              <a:avLst/>
              <a:gdLst>
                <a:gd name="T0" fmla="*/ 761 w 904"/>
                <a:gd name="T1" fmla="*/ 213 h 903"/>
                <a:gd name="T2" fmla="*/ 754 w 904"/>
                <a:gd name="T3" fmla="*/ 225 h 903"/>
                <a:gd name="T4" fmla="*/ 576 w 904"/>
                <a:gd name="T5" fmla="*/ 277 h 903"/>
                <a:gd name="T6" fmla="*/ 498 w 904"/>
                <a:gd name="T7" fmla="*/ 298 h 903"/>
                <a:gd name="T8" fmla="*/ 431 w 904"/>
                <a:gd name="T9" fmla="*/ 329 h 903"/>
                <a:gd name="T10" fmla="*/ 578 w 904"/>
                <a:gd name="T11" fmla="*/ 170 h 903"/>
                <a:gd name="T12" fmla="*/ 618 w 904"/>
                <a:gd name="T13" fmla="*/ 180 h 903"/>
                <a:gd name="T14" fmla="*/ 661 w 904"/>
                <a:gd name="T15" fmla="*/ 169 h 903"/>
                <a:gd name="T16" fmla="*/ 693 w 904"/>
                <a:gd name="T17" fmla="*/ 141 h 903"/>
                <a:gd name="T18" fmla="*/ 707 w 904"/>
                <a:gd name="T19" fmla="*/ 99 h 903"/>
                <a:gd name="T20" fmla="*/ 701 w 904"/>
                <a:gd name="T21" fmla="*/ 55 h 903"/>
                <a:gd name="T22" fmla="*/ 676 w 904"/>
                <a:gd name="T23" fmla="*/ 20 h 903"/>
                <a:gd name="T24" fmla="*/ 636 w 904"/>
                <a:gd name="T25" fmla="*/ 2 h 903"/>
                <a:gd name="T26" fmla="*/ 591 w 904"/>
                <a:gd name="T27" fmla="*/ 4 h 903"/>
                <a:gd name="T28" fmla="*/ 554 w 904"/>
                <a:gd name="T29" fmla="*/ 25 h 903"/>
                <a:gd name="T30" fmla="*/ 531 w 904"/>
                <a:gd name="T31" fmla="*/ 63 h 903"/>
                <a:gd name="T32" fmla="*/ 532 w 904"/>
                <a:gd name="T33" fmla="*/ 118 h 903"/>
                <a:gd name="T34" fmla="*/ 369 w 904"/>
                <a:gd name="T35" fmla="*/ 289 h 903"/>
                <a:gd name="T36" fmla="*/ 325 w 904"/>
                <a:gd name="T37" fmla="*/ 289 h 903"/>
                <a:gd name="T38" fmla="*/ 294 w 904"/>
                <a:gd name="T39" fmla="*/ 308 h 903"/>
                <a:gd name="T40" fmla="*/ 275 w 904"/>
                <a:gd name="T41" fmla="*/ 338 h 903"/>
                <a:gd name="T42" fmla="*/ 275 w 904"/>
                <a:gd name="T43" fmla="*/ 383 h 903"/>
                <a:gd name="T44" fmla="*/ 113 w 904"/>
                <a:gd name="T45" fmla="*/ 545 h 903"/>
                <a:gd name="T46" fmla="*/ 64 w 904"/>
                <a:gd name="T47" fmla="*/ 546 h 903"/>
                <a:gd name="T48" fmla="*/ 26 w 904"/>
                <a:gd name="T49" fmla="*/ 568 h 903"/>
                <a:gd name="T50" fmla="*/ 5 w 904"/>
                <a:gd name="T51" fmla="*/ 605 h 903"/>
                <a:gd name="T52" fmla="*/ 3 w 904"/>
                <a:gd name="T53" fmla="*/ 650 h 903"/>
                <a:gd name="T54" fmla="*/ 21 w 904"/>
                <a:gd name="T55" fmla="*/ 690 h 903"/>
                <a:gd name="T56" fmla="*/ 56 w 904"/>
                <a:gd name="T57" fmla="*/ 716 h 903"/>
                <a:gd name="T58" fmla="*/ 100 w 904"/>
                <a:gd name="T59" fmla="*/ 722 h 903"/>
                <a:gd name="T60" fmla="*/ 142 w 904"/>
                <a:gd name="T61" fmla="*/ 706 h 903"/>
                <a:gd name="T62" fmla="*/ 170 w 904"/>
                <a:gd name="T63" fmla="*/ 675 h 903"/>
                <a:gd name="T64" fmla="*/ 181 w 904"/>
                <a:gd name="T65" fmla="*/ 632 h 903"/>
                <a:gd name="T66" fmla="*/ 171 w 904"/>
                <a:gd name="T67" fmla="*/ 591 h 903"/>
                <a:gd name="T68" fmla="*/ 316 w 904"/>
                <a:gd name="T69" fmla="*/ 430 h 903"/>
                <a:gd name="T70" fmla="*/ 286 w 904"/>
                <a:gd name="T71" fmla="*/ 538 h 903"/>
                <a:gd name="T72" fmla="*/ 271 w 904"/>
                <a:gd name="T73" fmla="*/ 753 h 903"/>
                <a:gd name="T74" fmla="*/ 216 w 904"/>
                <a:gd name="T75" fmla="*/ 757 h 903"/>
                <a:gd name="T76" fmla="*/ 212 w 904"/>
                <a:gd name="T77" fmla="*/ 888 h 903"/>
                <a:gd name="T78" fmla="*/ 218 w 904"/>
                <a:gd name="T79" fmla="*/ 901 h 903"/>
                <a:gd name="T80" fmla="*/ 349 w 904"/>
                <a:gd name="T81" fmla="*/ 903 h 903"/>
                <a:gd name="T82" fmla="*/ 361 w 904"/>
                <a:gd name="T83" fmla="*/ 894 h 903"/>
                <a:gd name="T84" fmla="*/ 361 w 904"/>
                <a:gd name="T85" fmla="*/ 762 h 903"/>
                <a:gd name="T86" fmla="*/ 349 w 904"/>
                <a:gd name="T87" fmla="*/ 753 h 903"/>
                <a:gd name="T88" fmla="*/ 305 w 904"/>
                <a:gd name="T89" fmla="*/ 597 h 903"/>
                <a:gd name="T90" fmla="*/ 343 w 904"/>
                <a:gd name="T91" fmla="*/ 469 h 903"/>
                <a:gd name="T92" fmla="*/ 383 w 904"/>
                <a:gd name="T93" fmla="*/ 426 h 903"/>
                <a:gd name="T94" fmla="*/ 418 w 904"/>
                <a:gd name="T95" fmla="*/ 383 h 903"/>
                <a:gd name="T96" fmla="*/ 471 w 904"/>
                <a:gd name="T97" fmla="*/ 342 h 903"/>
                <a:gd name="T98" fmla="*/ 544 w 904"/>
                <a:gd name="T99" fmla="*/ 315 h 903"/>
                <a:gd name="T100" fmla="*/ 627 w 904"/>
                <a:gd name="T101" fmla="*/ 302 h 903"/>
                <a:gd name="T102" fmla="*/ 754 w 904"/>
                <a:gd name="T103" fmla="*/ 348 h 903"/>
                <a:gd name="T104" fmla="*/ 763 w 904"/>
                <a:gd name="T105" fmla="*/ 360 h 903"/>
                <a:gd name="T106" fmla="*/ 895 w 904"/>
                <a:gd name="T107" fmla="*/ 360 h 903"/>
                <a:gd name="T108" fmla="*/ 904 w 904"/>
                <a:gd name="T109" fmla="*/ 348 h 903"/>
                <a:gd name="T110" fmla="*/ 902 w 904"/>
                <a:gd name="T111" fmla="*/ 217 h 903"/>
                <a:gd name="T112" fmla="*/ 889 w 904"/>
                <a:gd name="T113" fmla="*/ 211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04" h="903">
                  <a:moveTo>
                    <a:pt x="889" y="211"/>
                  </a:moveTo>
                  <a:lnTo>
                    <a:pt x="768" y="211"/>
                  </a:lnTo>
                  <a:lnTo>
                    <a:pt x="765" y="211"/>
                  </a:lnTo>
                  <a:lnTo>
                    <a:pt x="763" y="212"/>
                  </a:lnTo>
                  <a:lnTo>
                    <a:pt x="761" y="213"/>
                  </a:lnTo>
                  <a:lnTo>
                    <a:pt x="758" y="215"/>
                  </a:lnTo>
                  <a:lnTo>
                    <a:pt x="756" y="217"/>
                  </a:lnTo>
                  <a:lnTo>
                    <a:pt x="755" y="220"/>
                  </a:lnTo>
                  <a:lnTo>
                    <a:pt x="754" y="222"/>
                  </a:lnTo>
                  <a:lnTo>
                    <a:pt x="754" y="225"/>
                  </a:lnTo>
                  <a:lnTo>
                    <a:pt x="754" y="271"/>
                  </a:lnTo>
                  <a:lnTo>
                    <a:pt x="663" y="271"/>
                  </a:lnTo>
                  <a:lnTo>
                    <a:pt x="627" y="272"/>
                  </a:lnTo>
                  <a:lnTo>
                    <a:pt x="593" y="275"/>
                  </a:lnTo>
                  <a:lnTo>
                    <a:pt x="576" y="277"/>
                  </a:lnTo>
                  <a:lnTo>
                    <a:pt x="561" y="281"/>
                  </a:lnTo>
                  <a:lnTo>
                    <a:pt x="545" y="284"/>
                  </a:lnTo>
                  <a:lnTo>
                    <a:pt x="529" y="287"/>
                  </a:lnTo>
                  <a:lnTo>
                    <a:pt x="513" y="292"/>
                  </a:lnTo>
                  <a:lnTo>
                    <a:pt x="498" y="298"/>
                  </a:lnTo>
                  <a:lnTo>
                    <a:pt x="484" y="302"/>
                  </a:lnTo>
                  <a:lnTo>
                    <a:pt x="470" y="309"/>
                  </a:lnTo>
                  <a:lnTo>
                    <a:pt x="457" y="315"/>
                  </a:lnTo>
                  <a:lnTo>
                    <a:pt x="443" y="323"/>
                  </a:lnTo>
                  <a:lnTo>
                    <a:pt x="431" y="329"/>
                  </a:lnTo>
                  <a:lnTo>
                    <a:pt x="418" y="337"/>
                  </a:lnTo>
                  <a:lnTo>
                    <a:pt x="415" y="328"/>
                  </a:lnTo>
                  <a:lnTo>
                    <a:pt x="409" y="319"/>
                  </a:lnTo>
                  <a:lnTo>
                    <a:pt x="565" y="163"/>
                  </a:lnTo>
                  <a:lnTo>
                    <a:pt x="578" y="170"/>
                  </a:lnTo>
                  <a:lnTo>
                    <a:pt x="590" y="176"/>
                  </a:lnTo>
                  <a:lnTo>
                    <a:pt x="597" y="178"/>
                  </a:lnTo>
                  <a:lnTo>
                    <a:pt x="604" y="179"/>
                  </a:lnTo>
                  <a:lnTo>
                    <a:pt x="610" y="180"/>
                  </a:lnTo>
                  <a:lnTo>
                    <a:pt x="618" y="180"/>
                  </a:lnTo>
                  <a:lnTo>
                    <a:pt x="627" y="180"/>
                  </a:lnTo>
                  <a:lnTo>
                    <a:pt x="636" y="178"/>
                  </a:lnTo>
                  <a:lnTo>
                    <a:pt x="644" y="176"/>
                  </a:lnTo>
                  <a:lnTo>
                    <a:pt x="653" y="173"/>
                  </a:lnTo>
                  <a:lnTo>
                    <a:pt x="661" y="169"/>
                  </a:lnTo>
                  <a:lnTo>
                    <a:pt x="668" y="164"/>
                  </a:lnTo>
                  <a:lnTo>
                    <a:pt x="676" y="160"/>
                  </a:lnTo>
                  <a:lnTo>
                    <a:pt x="681" y="154"/>
                  </a:lnTo>
                  <a:lnTo>
                    <a:pt x="687" y="147"/>
                  </a:lnTo>
                  <a:lnTo>
                    <a:pt x="693" y="141"/>
                  </a:lnTo>
                  <a:lnTo>
                    <a:pt x="697" y="133"/>
                  </a:lnTo>
                  <a:lnTo>
                    <a:pt x="701" y="125"/>
                  </a:lnTo>
                  <a:lnTo>
                    <a:pt x="704" y="117"/>
                  </a:lnTo>
                  <a:lnTo>
                    <a:pt x="706" y="108"/>
                  </a:lnTo>
                  <a:lnTo>
                    <a:pt x="707" y="99"/>
                  </a:lnTo>
                  <a:lnTo>
                    <a:pt x="709" y="90"/>
                  </a:lnTo>
                  <a:lnTo>
                    <a:pt x="707" y="81"/>
                  </a:lnTo>
                  <a:lnTo>
                    <a:pt x="706" y="72"/>
                  </a:lnTo>
                  <a:lnTo>
                    <a:pt x="704" y="63"/>
                  </a:lnTo>
                  <a:lnTo>
                    <a:pt x="701" y="55"/>
                  </a:lnTo>
                  <a:lnTo>
                    <a:pt x="697" y="47"/>
                  </a:lnTo>
                  <a:lnTo>
                    <a:pt x="693" y="39"/>
                  </a:lnTo>
                  <a:lnTo>
                    <a:pt x="687" y="32"/>
                  </a:lnTo>
                  <a:lnTo>
                    <a:pt x="681" y="25"/>
                  </a:lnTo>
                  <a:lnTo>
                    <a:pt x="676" y="20"/>
                  </a:lnTo>
                  <a:lnTo>
                    <a:pt x="668" y="15"/>
                  </a:lnTo>
                  <a:lnTo>
                    <a:pt x="661" y="11"/>
                  </a:lnTo>
                  <a:lnTo>
                    <a:pt x="653" y="6"/>
                  </a:lnTo>
                  <a:lnTo>
                    <a:pt x="644" y="4"/>
                  </a:lnTo>
                  <a:lnTo>
                    <a:pt x="636" y="2"/>
                  </a:lnTo>
                  <a:lnTo>
                    <a:pt x="627" y="0"/>
                  </a:lnTo>
                  <a:lnTo>
                    <a:pt x="618" y="0"/>
                  </a:lnTo>
                  <a:lnTo>
                    <a:pt x="609" y="0"/>
                  </a:lnTo>
                  <a:lnTo>
                    <a:pt x="600" y="2"/>
                  </a:lnTo>
                  <a:lnTo>
                    <a:pt x="591" y="4"/>
                  </a:lnTo>
                  <a:lnTo>
                    <a:pt x="583" y="6"/>
                  </a:lnTo>
                  <a:lnTo>
                    <a:pt x="575" y="11"/>
                  </a:lnTo>
                  <a:lnTo>
                    <a:pt x="567" y="15"/>
                  </a:lnTo>
                  <a:lnTo>
                    <a:pt x="561" y="20"/>
                  </a:lnTo>
                  <a:lnTo>
                    <a:pt x="554" y="25"/>
                  </a:lnTo>
                  <a:lnTo>
                    <a:pt x="548" y="32"/>
                  </a:lnTo>
                  <a:lnTo>
                    <a:pt x="543" y="39"/>
                  </a:lnTo>
                  <a:lnTo>
                    <a:pt x="538" y="47"/>
                  </a:lnTo>
                  <a:lnTo>
                    <a:pt x="535" y="55"/>
                  </a:lnTo>
                  <a:lnTo>
                    <a:pt x="531" y="63"/>
                  </a:lnTo>
                  <a:lnTo>
                    <a:pt x="529" y="72"/>
                  </a:lnTo>
                  <a:lnTo>
                    <a:pt x="528" y="81"/>
                  </a:lnTo>
                  <a:lnTo>
                    <a:pt x="528" y="90"/>
                  </a:lnTo>
                  <a:lnTo>
                    <a:pt x="529" y="105"/>
                  </a:lnTo>
                  <a:lnTo>
                    <a:pt x="532" y="118"/>
                  </a:lnTo>
                  <a:lnTo>
                    <a:pt x="537" y="131"/>
                  </a:lnTo>
                  <a:lnTo>
                    <a:pt x="545" y="142"/>
                  </a:lnTo>
                  <a:lnTo>
                    <a:pt x="388" y="298"/>
                  </a:lnTo>
                  <a:lnTo>
                    <a:pt x="379" y="293"/>
                  </a:lnTo>
                  <a:lnTo>
                    <a:pt x="369" y="289"/>
                  </a:lnTo>
                  <a:lnTo>
                    <a:pt x="358" y="286"/>
                  </a:lnTo>
                  <a:lnTo>
                    <a:pt x="347" y="285"/>
                  </a:lnTo>
                  <a:lnTo>
                    <a:pt x="339" y="286"/>
                  </a:lnTo>
                  <a:lnTo>
                    <a:pt x="331" y="287"/>
                  </a:lnTo>
                  <a:lnTo>
                    <a:pt x="325" y="289"/>
                  </a:lnTo>
                  <a:lnTo>
                    <a:pt x="318" y="292"/>
                  </a:lnTo>
                  <a:lnTo>
                    <a:pt x="311" y="294"/>
                  </a:lnTo>
                  <a:lnTo>
                    <a:pt x="304" y="299"/>
                  </a:lnTo>
                  <a:lnTo>
                    <a:pt x="299" y="303"/>
                  </a:lnTo>
                  <a:lnTo>
                    <a:pt x="294" y="308"/>
                  </a:lnTo>
                  <a:lnTo>
                    <a:pt x="288" y="313"/>
                  </a:lnTo>
                  <a:lnTo>
                    <a:pt x="284" y="319"/>
                  </a:lnTo>
                  <a:lnTo>
                    <a:pt x="281" y="325"/>
                  </a:lnTo>
                  <a:lnTo>
                    <a:pt x="277" y="332"/>
                  </a:lnTo>
                  <a:lnTo>
                    <a:pt x="275" y="338"/>
                  </a:lnTo>
                  <a:lnTo>
                    <a:pt x="273" y="346"/>
                  </a:lnTo>
                  <a:lnTo>
                    <a:pt x="271" y="353"/>
                  </a:lnTo>
                  <a:lnTo>
                    <a:pt x="271" y="361"/>
                  </a:lnTo>
                  <a:lnTo>
                    <a:pt x="273" y="372"/>
                  </a:lnTo>
                  <a:lnTo>
                    <a:pt x="275" y="383"/>
                  </a:lnTo>
                  <a:lnTo>
                    <a:pt x="278" y="393"/>
                  </a:lnTo>
                  <a:lnTo>
                    <a:pt x="284" y="403"/>
                  </a:lnTo>
                  <a:lnTo>
                    <a:pt x="134" y="553"/>
                  </a:lnTo>
                  <a:lnTo>
                    <a:pt x="124" y="547"/>
                  </a:lnTo>
                  <a:lnTo>
                    <a:pt x="113" y="545"/>
                  </a:lnTo>
                  <a:lnTo>
                    <a:pt x="102" y="543"/>
                  </a:lnTo>
                  <a:lnTo>
                    <a:pt x="91" y="542"/>
                  </a:lnTo>
                  <a:lnTo>
                    <a:pt x="82" y="542"/>
                  </a:lnTo>
                  <a:lnTo>
                    <a:pt x="73" y="544"/>
                  </a:lnTo>
                  <a:lnTo>
                    <a:pt x="64" y="546"/>
                  </a:lnTo>
                  <a:lnTo>
                    <a:pt x="56" y="548"/>
                  </a:lnTo>
                  <a:lnTo>
                    <a:pt x="48" y="553"/>
                  </a:lnTo>
                  <a:lnTo>
                    <a:pt x="40" y="557"/>
                  </a:lnTo>
                  <a:lnTo>
                    <a:pt x="33" y="562"/>
                  </a:lnTo>
                  <a:lnTo>
                    <a:pt x="26" y="568"/>
                  </a:lnTo>
                  <a:lnTo>
                    <a:pt x="21" y="574"/>
                  </a:lnTo>
                  <a:lnTo>
                    <a:pt x="16" y="581"/>
                  </a:lnTo>
                  <a:lnTo>
                    <a:pt x="12" y="589"/>
                  </a:lnTo>
                  <a:lnTo>
                    <a:pt x="7" y="597"/>
                  </a:lnTo>
                  <a:lnTo>
                    <a:pt x="5" y="605"/>
                  </a:lnTo>
                  <a:lnTo>
                    <a:pt x="3" y="614"/>
                  </a:lnTo>
                  <a:lnTo>
                    <a:pt x="0" y="623"/>
                  </a:lnTo>
                  <a:lnTo>
                    <a:pt x="0" y="632"/>
                  </a:lnTo>
                  <a:lnTo>
                    <a:pt x="0" y="641"/>
                  </a:lnTo>
                  <a:lnTo>
                    <a:pt x="3" y="650"/>
                  </a:lnTo>
                  <a:lnTo>
                    <a:pt x="5" y="659"/>
                  </a:lnTo>
                  <a:lnTo>
                    <a:pt x="7" y="667"/>
                  </a:lnTo>
                  <a:lnTo>
                    <a:pt x="12" y="675"/>
                  </a:lnTo>
                  <a:lnTo>
                    <a:pt x="16" y="683"/>
                  </a:lnTo>
                  <a:lnTo>
                    <a:pt x="21" y="690"/>
                  </a:lnTo>
                  <a:lnTo>
                    <a:pt x="26" y="696"/>
                  </a:lnTo>
                  <a:lnTo>
                    <a:pt x="33" y="702"/>
                  </a:lnTo>
                  <a:lnTo>
                    <a:pt x="40" y="706"/>
                  </a:lnTo>
                  <a:lnTo>
                    <a:pt x="48" y="711"/>
                  </a:lnTo>
                  <a:lnTo>
                    <a:pt x="56" y="716"/>
                  </a:lnTo>
                  <a:lnTo>
                    <a:pt x="64" y="718"/>
                  </a:lnTo>
                  <a:lnTo>
                    <a:pt x="73" y="720"/>
                  </a:lnTo>
                  <a:lnTo>
                    <a:pt x="82" y="722"/>
                  </a:lnTo>
                  <a:lnTo>
                    <a:pt x="91" y="722"/>
                  </a:lnTo>
                  <a:lnTo>
                    <a:pt x="100" y="722"/>
                  </a:lnTo>
                  <a:lnTo>
                    <a:pt x="109" y="720"/>
                  </a:lnTo>
                  <a:lnTo>
                    <a:pt x="118" y="718"/>
                  </a:lnTo>
                  <a:lnTo>
                    <a:pt x="126" y="716"/>
                  </a:lnTo>
                  <a:lnTo>
                    <a:pt x="134" y="711"/>
                  </a:lnTo>
                  <a:lnTo>
                    <a:pt x="142" y="706"/>
                  </a:lnTo>
                  <a:lnTo>
                    <a:pt x="148" y="702"/>
                  </a:lnTo>
                  <a:lnTo>
                    <a:pt x="155" y="696"/>
                  </a:lnTo>
                  <a:lnTo>
                    <a:pt x="161" y="690"/>
                  </a:lnTo>
                  <a:lnTo>
                    <a:pt x="165" y="683"/>
                  </a:lnTo>
                  <a:lnTo>
                    <a:pt x="170" y="675"/>
                  </a:lnTo>
                  <a:lnTo>
                    <a:pt x="174" y="667"/>
                  </a:lnTo>
                  <a:lnTo>
                    <a:pt x="177" y="659"/>
                  </a:lnTo>
                  <a:lnTo>
                    <a:pt x="179" y="650"/>
                  </a:lnTo>
                  <a:lnTo>
                    <a:pt x="181" y="641"/>
                  </a:lnTo>
                  <a:lnTo>
                    <a:pt x="181" y="632"/>
                  </a:lnTo>
                  <a:lnTo>
                    <a:pt x="181" y="623"/>
                  </a:lnTo>
                  <a:lnTo>
                    <a:pt x="180" y="615"/>
                  </a:lnTo>
                  <a:lnTo>
                    <a:pt x="178" y="607"/>
                  </a:lnTo>
                  <a:lnTo>
                    <a:pt x="174" y="599"/>
                  </a:lnTo>
                  <a:lnTo>
                    <a:pt x="171" y="591"/>
                  </a:lnTo>
                  <a:lnTo>
                    <a:pt x="168" y="585"/>
                  </a:lnTo>
                  <a:lnTo>
                    <a:pt x="163" y="578"/>
                  </a:lnTo>
                  <a:lnTo>
                    <a:pt x="157" y="571"/>
                  </a:lnTo>
                  <a:lnTo>
                    <a:pt x="305" y="424"/>
                  </a:lnTo>
                  <a:lnTo>
                    <a:pt x="316" y="430"/>
                  </a:lnTo>
                  <a:lnTo>
                    <a:pt x="328" y="433"/>
                  </a:lnTo>
                  <a:lnTo>
                    <a:pt x="314" y="457"/>
                  </a:lnTo>
                  <a:lnTo>
                    <a:pt x="303" y="483"/>
                  </a:lnTo>
                  <a:lnTo>
                    <a:pt x="294" y="510"/>
                  </a:lnTo>
                  <a:lnTo>
                    <a:pt x="286" y="538"/>
                  </a:lnTo>
                  <a:lnTo>
                    <a:pt x="279" y="568"/>
                  </a:lnTo>
                  <a:lnTo>
                    <a:pt x="275" y="598"/>
                  </a:lnTo>
                  <a:lnTo>
                    <a:pt x="273" y="630"/>
                  </a:lnTo>
                  <a:lnTo>
                    <a:pt x="271" y="662"/>
                  </a:lnTo>
                  <a:lnTo>
                    <a:pt x="271" y="753"/>
                  </a:lnTo>
                  <a:lnTo>
                    <a:pt x="226" y="753"/>
                  </a:lnTo>
                  <a:lnTo>
                    <a:pt x="223" y="753"/>
                  </a:lnTo>
                  <a:lnTo>
                    <a:pt x="221" y="754"/>
                  </a:lnTo>
                  <a:lnTo>
                    <a:pt x="218" y="755"/>
                  </a:lnTo>
                  <a:lnTo>
                    <a:pt x="216" y="757"/>
                  </a:lnTo>
                  <a:lnTo>
                    <a:pt x="214" y="760"/>
                  </a:lnTo>
                  <a:lnTo>
                    <a:pt x="213" y="762"/>
                  </a:lnTo>
                  <a:lnTo>
                    <a:pt x="212" y="764"/>
                  </a:lnTo>
                  <a:lnTo>
                    <a:pt x="212" y="767"/>
                  </a:lnTo>
                  <a:lnTo>
                    <a:pt x="212" y="888"/>
                  </a:lnTo>
                  <a:lnTo>
                    <a:pt x="212" y="891"/>
                  </a:lnTo>
                  <a:lnTo>
                    <a:pt x="213" y="894"/>
                  </a:lnTo>
                  <a:lnTo>
                    <a:pt x="214" y="896"/>
                  </a:lnTo>
                  <a:lnTo>
                    <a:pt x="216" y="898"/>
                  </a:lnTo>
                  <a:lnTo>
                    <a:pt x="218" y="901"/>
                  </a:lnTo>
                  <a:lnTo>
                    <a:pt x="221" y="902"/>
                  </a:lnTo>
                  <a:lnTo>
                    <a:pt x="223" y="903"/>
                  </a:lnTo>
                  <a:lnTo>
                    <a:pt x="226" y="903"/>
                  </a:lnTo>
                  <a:lnTo>
                    <a:pt x="347" y="903"/>
                  </a:lnTo>
                  <a:lnTo>
                    <a:pt x="349" y="903"/>
                  </a:lnTo>
                  <a:lnTo>
                    <a:pt x="353" y="902"/>
                  </a:lnTo>
                  <a:lnTo>
                    <a:pt x="355" y="901"/>
                  </a:lnTo>
                  <a:lnTo>
                    <a:pt x="357" y="898"/>
                  </a:lnTo>
                  <a:lnTo>
                    <a:pt x="360" y="896"/>
                  </a:lnTo>
                  <a:lnTo>
                    <a:pt x="361" y="894"/>
                  </a:lnTo>
                  <a:lnTo>
                    <a:pt x="362" y="891"/>
                  </a:lnTo>
                  <a:lnTo>
                    <a:pt x="362" y="888"/>
                  </a:lnTo>
                  <a:lnTo>
                    <a:pt x="362" y="767"/>
                  </a:lnTo>
                  <a:lnTo>
                    <a:pt x="362" y="764"/>
                  </a:lnTo>
                  <a:lnTo>
                    <a:pt x="361" y="762"/>
                  </a:lnTo>
                  <a:lnTo>
                    <a:pt x="360" y="760"/>
                  </a:lnTo>
                  <a:lnTo>
                    <a:pt x="357" y="757"/>
                  </a:lnTo>
                  <a:lnTo>
                    <a:pt x="355" y="755"/>
                  </a:lnTo>
                  <a:lnTo>
                    <a:pt x="353" y="754"/>
                  </a:lnTo>
                  <a:lnTo>
                    <a:pt x="349" y="753"/>
                  </a:lnTo>
                  <a:lnTo>
                    <a:pt x="347" y="753"/>
                  </a:lnTo>
                  <a:lnTo>
                    <a:pt x="302" y="753"/>
                  </a:lnTo>
                  <a:lnTo>
                    <a:pt x="302" y="662"/>
                  </a:lnTo>
                  <a:lnTo>
                    <a:pt x="303" y="629"/>
                  </a:lnTo>
                  <a:lnTo>
                    <a:pt x="305" y="597"/>
                  </a:lnTo>
                  <a:lnTo>
                    <a:pt x="310" y="566"/>
                  </a:lnTo>
                  <a:lnTo>
                    <a:pt x="317" y="537"/>
                  </a:lnTo>
                  <a:lnTo>
                    <a:pt x="326" y="509"/>
                  </a:lnTo>
                  <a:lnTo>
                    <a:pt x="336" y="482"/>
                  </a:lnTo>
                  <a:lnTo>
                    <a:pt x="343" y="469"/>
                  </a:lnTo>
                  <a:lnTo>
                    <a:pt x="348" y="457"/>
                  </a:lnTo>
                  <a:lnTo>
                    <a:pt x="355" y="446"/>
                  </a:lnTo>
                  <a:lnTo>
                    <a:pt x="363" y="434"/>
                  </a:lnTo>
                  <a:lnTo>
                    <a:pt x="373" y="431"/>
                  </a:lnTo>
                  <a:lnTo>
                    <a:pt x="383" y="426"/>
                  </a:lnTo>
                  <a:lnTo>
                    <a:pt x="393" y="420"/>
                  </a:lnTo>
                  <a:lnTo>
                    <a:pt x="401" y="413"/>
                  </a:lnTo>
                  <a:lnTo>
                    <a:pt x="408" y="404"/>
                  </a:lnTo>
                  <a:lnTo>
                    <a:pt x="414" y="395"/>
                  </a:lnTo>
                  <a:lnTo>
                    <a:pt x="418" y="383"/>
                  </a:lnTo>
                  <a:lnTo>
                    <a:pt x="421" y="372"/>
                  </a:lnTo>
                  <a:lnTo>
                    <a:pt x="433" y="364"/>
                  </a:lnTo>
                  <a:lnTo>
                    <a:pt x="445" y="356"/>
                  </a:lnTo>
                  <a:lnTo>
                    <a:pt x="458" y="348"/>
                  </a:lnTo>
                  <a:lnTo>
                    <a:pt x="471" y="342"/>
                  </a:lnTo>
                  <a:lnTo>
                    <a:pt x="485" y="335"/>
                  </a:lnTo>
                  <a:lnTo>
                    <a:pt x="498" y="329"/>
                  </a:lnTo>
                  <a:lnTo>
                    <a:pt x="513" y="324"/>
                  </a:lnTo>
                  <a:lnTo>
                    <a:pt x="529" y="319"/>
                  </a:lnTo>
                  <a:lnTo>
                    <a:pt x="544" y="315"/>
                  </a:lnTo>
                  <a:lnTo>
                    <a:pt x="559" y="311"/>
                  </a:lnTo>
                  <a:lnTo>
                    <a:pt x="576" y="308"/>
                  </a:lnTo>
                  <a:lnTo>
                    <a:pt x="593" y="306"/>
                  </a:lnTo>
                  <a:lnTo>
                    <a:pt x="610" y="303"/>
                  </a:lnTo>
                  <a:lnTo>
                    <a:pt x="627" y="302"/>
                  </a:lnTo>
                  <a:lnTo>
                    <a:pt x="645" y="301"/>
                  </a:lnTo>
                  <a:lnTo>
                    <a:pt x="663" y="301"/>
                  </a:lnTo>
                  <a:lnTo>
                    <a:pt x="754" y="301"/>
                  </a:lnTo>
                  <a:lnTo>
                    <a:pt x="754" y="346"/>
                  </a:lnTo>
                  <a:lnTo>
                    <a:pt x="754" y="348"/>
                  </a:lnTo>
                  <a:lnTo>
                    <a:pt x="755" y="352"/>
                  </a:lnTo>
                  <a:lnTo>
                    <a:pt x="756" y="354"/>
                  </a:lnTo>
                  <a:lnTo>
                    <a:pt x="758" y="356"/>
                  </a:lnTo>
                  <a:lnTo>
                    <a:pt x="761" y="359"/>
                  </a:lnTo>
                  <a:lnTo>
                    <a:pt x="763" y="360"/>
                  </a:lnTo>
                  <a:lnTo>
                    <a:pt x="765" y="361"/>
                  </a:lnTo>
                  <a:lnTo>
                    <a:pt x="768" y="361"/>
                  </a:lnTo>
                  <a:lnTo>
                    <a:pt x="889" y="361"/>
                  </a:lnTo>
                  <a:lnTo>
                    <a:pt x="892" y="361"/>
                  </a:lnTo>
                  <a:lnTo>
                    <a:pt x="895" y="360"/>
                  </a:lnTo>
                  <a:lnTo>
                    <a:pt x="897" y="359"/>
                  </a:lnTo>
                  <a:lnTo>
                    <a:pt x="899" y="356"/>
                  </a:lnTo>
                  <a:lnTo>
                    <a:pt x="902" y="354"/>
                  </a:lnTo>
                  <a:lnTo>
                    <a:pt x="903" y="352"/>
                  </a:lnTo>
                  <a:lnTo>
                    <a:pt x="904" y="348"/>
                  </a:lnTo>
                  <a:lnTo>
                    <a:pt x="904" y="346"/>
                  </a:lnTo>
                  <a:lnTo>
                    <a:pt x="904" y="225"/>
                  </a:lnTo>
                  <a:lnTo>
                    <a:pt x="904" y="222"/>
                  </a:lnTo>
                  <a:lnTo>
                    <a:pt x="903" y="220"/>
                  </a:lnTo>
                  <a:lnTo>
                    <a:pt x="902" y="217"/>
                  </a:lnTo>
                  <a:lnTo>
                    <a:pt x="899" y="215"/>
                  </a:lnTo>
                  <a:lnTo>
                    <a:pt x="897" y="213"/>
                  </a:lnTo>
                  <a:lnTo>
                    <a:pt x="895" y="212"/>
                  </a:lnTo>
                  <a:lnTo>
                    <a:pt x="892" y="211"/>
                  </a:lnTo>
                  <a:lnTo>
                    <a:pt x="889" y="2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b="1"/>
            </a:p>
          </p:txBody>
        </p:sp>
      </p:grpSp>
      <p:grpSp>
        <p:nvGrpSpPr>
          <p:cNvPr id="43" name="Group 42">
            <a:extLst>
              <a:ext uri="{FF2B5EF4-FFF2-40B4-BE49-F238E27FC236}">
                <a16:creationId xmlns:a16="http://schemas.microsoft.com/office/drawing/2014/main" id="{5E546480-6158-4669-BF0B-FBB973F0029D}"/>
              </a:ext>
            </a:extLst>
          </p:cNvPr>
          <p:cNvGrpSpPr/>
          <p:nvPr/>
        </p:nvGrpSpPr>
        <p:grpSpPr>
          <a:xfrm>
            <a:off x="9200020" y="1356854"/>
            <a:ext cx="2188782" cy="4663440"/>
            <a:chOff x="9342265" y="1355491"/>
            <a:chExt cx="2188782" cy="4663440"/>
          </a:xfrm>
        </p:grpSpPr>
        <p:sp>
          <p:nvSpPr>
            <p:cNvPr id="44" name="Trapezoid 43">
              <a:extLst>
                <a:ext uri="{FF2B5EF4-FFF2-40B4-BE49-F238E27FC236}">
                  <a16:creationId xmlns:a16="http://schemas.microsoft.com/office/drawing/2014/main" id="{7F3CF7DA-DC12-4614-875F-4081574B57A4}"/>
                </a:ext>
                <a:ext uri="{C183D7F6-B498-43B3-948B-1728B52AA6E4}">
                  <adec:decorative xmlns:adec="http://schemas.microsoft.com/office/drawing/2017/decorative" val="1"/>
                </a:ext>
              </a:extLst>
            </p:cNvPr>
            <p:cNvSpPr/>
            <p:nvPr/>
          </p:nvSpPr>
          <p:spPr>
            <a:xfrm rot="5400000">
              <a:off x="8130516" y="2664868"/>
              <a:ext cx="4663440" cy="2044685"/>
            </a:xfrm>
            <a:prstGeom prst="trapezoid">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45" name="Freeform 4346" descr="Icon of box and whisker chart. ">
              <a:extLst>
                <a:ext uri="{FF2B5EF4-FFF2-40B4-BE49-F238E27FC236}">
                  <a16:creationId xmlns:a16="http://schemas.microsoft.com/office/drawing/2014/main" id="{BB69A8CB-9412-48BF-B1AB-28B316DE306F}"/>
                </a:ext>
              </a:extLst>
            </p:cNvPr>
            <p:cNvSpPr>
              <a:spLocks noEditPoints="1"/>
            </p:cNvSpPr>
            <p:nvPr/>
          </p:nvSpPr>
          <p:spPr bwMode="auto">
            <a:xfrm>
              <a:off x="9837129" y="2975754"/>
              <a:ext cx="1199054" cy="1199054"/>
            </a:xfrm>
            <a:custGeom>
              <a:avLst/>
              <a:gdLst>
                <a:gd name="T0" fmla="*/ 706 w 898"/>
                <a:gd name="T1" fmla="*/ 479 h 898"/>
                <a:gd name="T2" fmla="*/ 652 w 898"/>
                <a:gd name="T3" fmla="*/ 556 h 898"/>
                <a:gd name="T4" fmla="*/ 632 w 898"/>
                <a:gd name="T5" fmla="*/ 551 h 898"/>
                <a:gd name="T6" fmla="*/ 576 w 898"/>
                <a:gd name="T7" fmla="*/ 477 h 898"/>
                <a:gd name="T8" fmla="*/ 571 w 898"/>
                <a:gd name="T9" fmla="*/ 398 h 898"/>
                <a:gd name="T10" fmla="*/ 628 w 898"/>
                <a:gd name="T11" fmla="*/ 129 h 898"/>
                <a:gd name="T12" fmla="*/ 643 w 898"/>
                <a:gd name="T13" fmla="*/ 114 h 898"/>
                <a:gd name="T14" fmla="*/ 658 w 898"/>
                <a:gd name="T15" fmla="*/ 129 h 898"/>
                <a:gd name="T16" fmla="*/ 717 w 898"/>
                <a:gd name="T17" fmla="*/ 398 h 898"/>
                <a:gd name="T18" fmla="*/ 621 w 898"/>
                <a:gd name="T19" fmla="*/ 758 h 898"/>
                <a:gd name="T20" fmla="*/ 589 w 898"/>
                <a:gd name="T21" fmla="*/ 727 h 898"/>
                <a:gd name="T22" fmla="*/ 589 w 898"/>
                <a:gd name="T23" fmla="*/ 680 h 898"/>
                <a:gd name="T24" fmla="*/ 621 w 898"/>
                <a:gd name="T25" fmla="*/ 648 h 898"/>
                <a:gd name="T26" fmla="*/ 667 w 898"/>
                <a:gd name="T27" fmla="*/ 648 h 898"/>
                <a:gd name="T28" fmla="*/ 699 w 898"/>
                <a:gd name="T29" fmla="*/ 680 h 898"/>
                <a:gd name="T30" fmla="*/ 699 w 898"/>
                <a:gd name="T31" fmla="*/ 727 h 898"/>
                <a:gd name="T32" fmla="*/ 667 w 898"/>
                <a:gd name="T33" fmla="*/ 758 h 898"/>
                <a:gd name="T34" fmla="*/ 536 w 898"/>
                <a:gd name="T35" fmla="*/ 294 h 898"/>
                <a:gd name="T36" fmla="*/ 479 w 898"/>
                <a:gd name="T37" fmla="*/ 546 h 898"/>
                <a:gd name="T38" fmla="*/ 461 w 898"/>
                <a:gd name="T39" fmla="*/ 558 h 898"/>
                <a:gd name="T40" fmla="*/ 450 w 898"/>
                <a:gd name="T41" fmla="*/ 299 h 898"/>
                <a:gd name="T42" fmla="*/ 390 w 898"/>
                <a:gd name="T43" fmla="*/ 287 h 898"/>
                <a:gd name="T44" fmla="*/ 398 w 898"/>
                <a:gd name="T45" fmla="*/ 211 h 898"/>
                <a:gd name="T46" fmla="*/ 454 w 898"/>
                <a:gd name="T47" fmla="*/ 118 h 898"/>
                <a:gd name="T48" fmla="*/ 475 w 898"/>
                <a:gd name="T49" fmla="*/ 118 h 898"/>
                <a:gd name="T50" fmla="*/ 530 w 898"/>
                <a:gd name="T51" fmla="*/ 211 h 898"/>
                <a:gd name="T52" fmla="*/ 465 w 898"/>
                <a:gd name="T53" fmla="*/ 763 h 898"/>
                <a:gd name="T54" fmla="*/ 422 w 898"/>
                <a:gd name="T55" fmla="*/ 745 h 898"/>
                <a:gd name="T56" fmla="*/ 405 w 898"/>
                <a:gd name="T57" fmla="*/ 703 h 898"/>
                <a:gd name="T58" fmla="*/ 422 w 898"/>
                <a:gd name="T59" fmla="*/ 661 h 898"/>
                <a:gd name="T60" fmla="*/ 465 w 898"/>
                <a:gd name="T61" fmla="*/ 643 h 898"/>
                <a:gd name="T62" fmla="*/ 506 w 898"/>
                <a:gd name="T63" fmla="*/ 661 h 898"/>
                <a:gd name="T64" fmla="*/ 525 w 898"/>
                <a:gd name="T65" fmla="*/ 703 h 898"/>
                <a:gd name="T66" fmla="*/ 506 w 898"/>
                <a:gd name="T67" fmla="*/ 745 h 898"/>
                <a:gd name="T68" fmla="*/ 465 w 898"/>
                <a:gd name="T69" fmla="*/ 763 h 898"/>
                <a:gd name="T70" fmla="*/ 318 w 898"/>
                <a:gd name="T71" fmla="*/ 419 h 898"/>
                <a:gd name="T72" fmla="*/ 263 w 898"/>
                <a:gd name="T73" fmla="*/ 556 h 898"/>
                <a:gd name="T74" fmla="*/ 242 w 898"/>
                <a:gd name="T75" fmla="*/ 551 h 898"/>
                <a:gd name="T76" fmla="*/ 186 w 898"/>
                <a:gd name="T77" fmla="*/ 417 h 898"/>
                <a:gd name="T78" fmla="*/ 181 w 898"/>
                <a:gd name="T79" fmla="*/ 339 h 898"/>
                <a:gd name="T80" fmla="*/ 240 w 898"/>
                <a:gd name="T81" fmla="*/ 129 h 898"/>
                <a:gd name="T82" fmla="*/ 255 w 898"/>
                <a:gd name="T83" fmla="*/ 114 h 898"/>
                <a:gd name="T84" fmla="*/ 270 w 898"/>
                <a:gd name="T85" fmla="*/ 129 h 898"/>
                <a:gd name="T86" fmla="*/ 329 w 898"/>
                <a:gd name="T87" fmla="*/ 339 h 898"/>
                <a:gd name="T88" fmla="*/ 231 w 898"/>
                <a:gd name="T89" fmla="*/ 758 h 898"/>
                <a:gd name="T90" fmla="*/ 200 w 898"/>
                <a:gd name="T91" fmla="*/ 727 h 898"/>
                <a:gd name="T92" fmla="*/ 200 w 898"/>
                <a:gd name="T93" fmla="*/ 680 h 898"/>
                <a:gd name="T94" fmla="*/ 231 w 898"/>
                <a:gd name="T95" fmla="*/ 648 h 898"/>
                <a:gd name="T96" fmla="*/ 278 w 898"/>
                <a:gd name="T97" fmla="*/ 648 h 898"/>
                <a:gd name="T98" fmla="*/ 311 w 898"/>
                <a:gd name="T99" fmla="*/ 680 h 898"/>
                <a:gd name="T100" fmla="*/ 311 w 898"/>
                <a:gd name="T101" fmla="*/ 727 h 898"/>
                <a:gd name="T102" fmla="*/ 278 w 898"/>
                <a:gd name="T103" fmla="*/ 758 h 898"/>
                <a:gd name="T104" fmla="*/ 10 w 898"/>
                <a:gd name="T105" fmla="*/ 2 h 898"/>
                <a:gd name="T106" fmla="*/ 1 w 898"/>
                <a:gd name="T107" fmla="*/ 886 h 898"/>
                <a:gd name="T108" fmla="*/ 883 w 898"/>
                <a:gd name="T109" fmla="*/ 898 h 898"/>
                <a:gd name="T110" fmla="*/ 898 w 898"/>
                <a:gd name="T111" fmla="*/ 883 h 898"/>
                <a:gd name="T112" fmla="*/ 886 w 898"/>
                <a:gd name="T113" fmla="*/ 0 h 8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98" h="898">
                  <a:moveTo>
                    <a:pt x="718" y="464"/>
                  </a:moveTo>
                  <a:lnTo>
                    <a:pt x="718" y="467"/>
                  </a:lnTo>
                  <a:lnTo>
                    <a:pt x="717" y="470"/>
                  </a:lnTo>
                  <a:lnTo>
                    <a:pt x="716" y="472"/>
                  </a:lnTo>
                  <a:lnTo>
                    <a:pt x="714" y="474"/>
                  </a:lnTo>
                  <a:lnTo>
                    <a:pt x="712" y="477"/>
                  </a:lnTo>
                  <a:lnTo>
                    <a:pt x="710" y="478"/>
                  </a:lnTo>
                  <a:lnTo>
                    <a:pt x="706" y="479"/>
                  </a:lnTo>
                  <a:lnTo>
                    <a:pt x="703" y="479"/>
                  </a:lnTo>
                  <a:lnTo>
                    <a:pt x="658" y="479"/>
                  </a:lnTo>
                  <a:lnTo>
                    <a:pt x="658" y="543"/>
                  </a:lnTo>
                  <a:lnTo>
                    <a:pt x="658" y="546"/>
                  </a:lnTo>
                  <a:lnTo>
                    <a:pt x="657" y="549"/>
                  </a:lnTo>
                  <a:lnTo>
                    <a:pt x="656" y="551"/>
                  </a:lnTo>
                  <a:lnTo>
                    <a:pt x="654" y="554"/>
                  </a:lnTo>
                  <a:lnTo>
                    <a:pt x="652" y="556"/>
                  </a:lnTo>
                  <a:lnTo>
                    <a:pt x="650" y="557"/>
                  </a:lnTo>
                  <a:lnTo>
                    <a:pt x="647" y="558"/>
                  </a:lnTo>
                  <a:lnTo>
                    <a:pt x="643" y="558"/>
                  </a:lnTo>
                  <a:lnTo>
                    <a:pt x="641" y="558"/>
                  </a:lnTo>
                  <a:lnTo>
                    <a:pt x="638" y="557"/>
                  </a:lnTo>
                  <a:lnTo>
                    <a:pt x="636" y="556"/>
                  </a:lnTo>
                  <a:lnTo>
                    <a:pt x="634" y="554"/>
                  </a:lnTo>
                  <a:lnTo>
                    <a:pt x="632" y="551"/>
                  </a:lnTo>
                  <a:lnTo>
                    <a:pt x="631" y="549"/>
                  </a:lnTo>
                  <a:lnTo>
                    <a:pt x="629" y="546"/>
                  </a:lnTo>
                  <a:lnTo>
                    <a:pt x="628" y="543"/>
                  </a:lnTo>
                  <a:lnTo>
                    <a:pt x="628" y="479"/>
                  </a:lnTo>
                  <a:lnTo>
                    <a:pt x="583" y="479"/>
                  </a:lnTo>
                  <a:lnTo>
                    <a:pt x="581" y="479"/>
                  </a:lnTo>
                  <a:lnTo>
                    <a:pt x="578" y="478"/>
                  </a:lnTo>
                  <a:lnTo>
                    <a:pt x="576" y="477"/>
                  </a:lnTo>
                  <a:lnTo>
                    <a:pt x="574" y="474"/>
                  </a:lnTo>
                  <a:lnTo>
                    <a:pt x="572" y="472"/>
                  </a:lnTo>
                  <a:lnTo>
                    <a:pt x="571" y="470"/>
                  </a:lnTo>
                  <a:lnTo>
                    <a:pt x="570" y="467"/>
                  </a:lnTo>
                  <a:lnTo>
                    <a:pt x="570" y="464"/>
                  </a:lnTo>
                  <a:lnTo>
                    <a:pt x="570" y="404"/>
                  </a:lnTo>
                  <a:lnTo>
                    <a:pt x="570" y="402"/>
                  </a:lnTo>
                  <a:lnTo>
                    <a:pt x="571" y="398"/>
                  </a:lnTo>
                  <a:lnTo>
                    <a:pt x="572" y="396"/>
                  </a:lnTo>
                  <a:lnTo>
                    <a:pt x="574" y="394"/>
                  </a:lnTo>
                  <a:lnTo>
                    <a:pt x="576" y="392"/>
                  </a:lnTo>
                  <a:lnTo>
                    <a:pt x="578" y="391"/>
                  </a:lnTo>
                  <a:lnTo>
                    <a:pt x="581" y="390"/>
                  </a:lnTo>
                  <a:lnTo>
                    <a:pt x="583" y="389"/>
                  </a:lnTo>
                  <a:lnTo>
                    <a:pt x="628" y="389"/>
                  </a:lnTo>
                  <a:lnTo>
                    <a:pt x="628" y="129"/>
                  </a:lnTo>
                  <a:lnTo>
                    <a:pt x="629" y="126"/>
                  </a:lnTo>
                  <a:lnTo>
                    <a:pt x="631" y="123"/>
                  </a:lnTo>
                  <a:lnTo>
                    <a:pt x="632" y="121"/>
                  </a:lnTo>
                  <a:lnTo>
                    <a:pt x="634" y="118"/>
                  </a:lnTo>
                  <a:lnTo>
                    <a:pt x="636" y="117"/>
                  </a:lnTo>
                  <a:lnTo>
                    <a:pt x="638" y="115"/>
                  </a:lnTo>
                  <a:lnTo>
                    <a:pt x="641" y="114"/>
                  </a:lnTo>
                  <a:lnTo>
                    <a:pt x="643" y="114"/>
                  </a:lnTo>
                  <a:lnTo>
                    <a:pt x="647" y="114"/>
                  </a:lnTo>
                  <a:lnTo>
                    <a:pt x="650" y="115"/>
                  </a:lnTo>
                  <a:lnTo>
                    <a:pt x="652" y="117"/>
                  </a:lnTo>
                  <a:lnTo>
                    <a:pt x="654" y="118"/>
                  </a:lnTo>
                  <a:lnTo>
                    <a:pt x="656" y="121"/>
                  </a:lnTo>
                  <a:lnTo>
                    <a:pt x="657" y="123"/>
                  </a:lnTo>
                  <a:lnTo>
                    <a:pt x="658" y="127"/>
                  </a:lnTo>
                  <a:lnTo>
                    <a:pt x="658" y="129"/>
                  </a:lnTo>
                  <a:lnTo>
                    <a:pt x="658" y="389"/>
                  </a:lnTo>
                  <a:lnTo>
                    <a:pt x="703" y="389"/>
                  </a:lnTo>
                  <a:lnTo>
                    <a:pt x="706" y="390"/>
                  </a:lnTo>
                  <a:lnTo>
                    <a:pt x="710" y="391"/>
                  </a:lnTo>
                  <a:lnTo>
                    <a:pt x="712" y="392"/>
                  </a:lnTo>
                  <a:lnTo>
                    <a:pt x="714" y="394"/>
                  </a:lnTo>
                  <a:lnTo>
                    <a:pt x="716" y="396"/>
                  </a:lnTo>
                  <a:lnTo>
                    <a:pt x="717" y="398"/>
                  </a:lnTo>
                  <a:lnTo>
                    <a:pt x="718" y="402"/>
                  </a:lnTo>
                  <a:lnTo>
                    <a:pt x="718" y="404"/>
                  </a:lnTo>
                  <a:lnTo>
                    <a:pt x="718" y="464"/>
                  </a:lnTo>
                  <a:close/>
                  <a:moveTo>
                    <a:pt x="643" y="763"/>
                  </a:moveTo>
                  <a:lnTo>
                    <a:pt x="638" y="762"/>
                  </a:lnTo>
                  <a:lnTo>
                    <a:pt x="632" y="762"/>
                  </a:lnTo>
                  <a:lnTo>
                    <a:pt x="626" y="760"/>
                  </a:lnTo>
                  <a:lnTo>
                    <a:pt x="621" y="758"/>
                  </a:lnTo>
                  <a:lnTo>
                    <a:pt x="616" y="756"/>
                  </a:lnTo>
                  <a:lnTo>
                    <a:pt x="610" y="753"/>
                  </a:lnTo>
                  <a:lnTo>
                    <a:pt x="606" y="749"/>
                  </a:lnTo>
                  <a:lnTo>
                    <a:pt x="602" y="745"/>
                  </a:lnTo>
                  <a:lnTo>
                    <a:pt x="597" y="741"/>
                  </a:lnTo>
                  <a:lnTo>
                    <a:pt x="594" y="737"/>
                  </a:lnTo>
                  <a:lnTo>
                    <a:pt x="591" y="731"/>
                  </a:lnTo>
                  <a:lnTo>
                    <a:pt x="589" y="727"/>
                  </a:lnTo>
                  <a:lnTo>
                    <a:pt x="587" y="720"/>
                  </a:lnTo>
                  <a:lnTo>
                    <a:pt x="586" y="715"/>
                  </a:lnTo>
                  <a:lnTo>
                    <a:pt x="584" y="710"/>
                  </a:lnTo>
                  <a:lnTo>
                    <a:pt x="583" y="703"/>
                  </a:lnTo>
                  <a:lnTo>
                    <a:pt x="584" y="697"/>
                  </a:lnTo>
                  <a:lnTo>
                    <a:pt x="586" y="692"/>
                  </a:lnTo>
                  <a:lnTo>
                    <a:pt x="587" y="685"/>
                  </a:lnTo>
                  <a:lnTo>
                    <a:pt x="589" y="680"/>
                  </a:lnTo>
                  <a:lnTo>
                    <a:pt x="591" y="674"/>
                  </a:lnTo>
                  <a:lnTo>
                    <a:pt x="594" y="670"/>
                  </a:lnTo>
                  <a:lnTo>
                    <a:pt x="597" y="665"/>
                  </a:lnTo>
                  <a:lnTo>
                    <a:pt x="602" y="661"/>
                  </a:lnTo>
                  <a:lnTo>
                    <a:pt x="606" y="657"/>
                  </a:lnTo>
                  <a:lnTo>
                    <a:pt x="610" y="653"/>
                  </a:lnTo>
                  <a:lnTo>
                    <a:pt x="616" y="651"/>
                  </a:lnTo>
                  <a:lnTo>
                    <a:pt x="621" y="648"/>
                  </a:lnTo>
                  <a:lnTo>
                    <a:pt x="626" y="646"/>
                  </a:lnTo>
                  <a:lnTo>
                    <a:pt x="632" y="645"/>
                  </a:lnTo>
                  <a:lnTo>
                    <a:pt x="638" y="643"/>
                  </a:lnTo>
                  <a:lnTo>
                    <a:pt x="643" y="643"/>
                  </a:lnTo>
                  <a:lnTo>
                    <a:pt x="650" y="643"/>
                  </a:lnTo>
                  <a:lnTo>
                    <a:pt x="656" y="645"/>
                  </a:lnTo>
                  <a:lnTo>
                    <a:pt x="662" y="646"/>
                  </a:lnTo>
                  <a:lnTo>
                    <a:pt x="667" y="648"/>
                  </a:lnTo>
                  <a:lnTo>
                    <a:pt x="672" y="651"/>
                  </a:lnTo>
                  <a:lnTo>
                    <a:pt x="678" y="653"/>
                  </a:lnTo>
                  <a:lnTo>
                    <a:pt x="682" y="657"/>
                  </a:lnTo>
                  <a:lnTo>
                    <a:pt x="686" y="661"/>
                  </a:lnTo>
                  <a:lnTo>
                    <a:pt x="690" y="665"/>
                  </a:lnTo>
                  <a:lnTo>
                    <a:pt x="694" y="670"/>
                  </a:lnTo>
                  <a:lnTo>
                    <a:pt x="697" y="674"/>
                  </a:lnTo>
                  <a:lnTo>
                    <a:pt x="699" y="680"/>
                  </a:lnTo>
                  <a:lnTo>
                    <a:pt x="701" y="685"/>
                  </a:lnTo>
                  <a:lnTo>
                    <a:pt x="702" y="692"/>
                  </a:lnTo>
                  <a:lnTo>
                    <a:pt x="703" y="697"/>
                  </a:lnTo>
                  <a:lnTo>
                    <a:pt x="703" y="703"/>
                  </a:lnTo>
                  <a:lnTo>
                    <a:pt x="703" y="710"/>
                  </a:lnTo>
                  <a:lnTo>
                    <a:pt x="702" y="715"/>
                  </a:lnTo>
                  <a:lnTo>
                    <a:pt x="701" y="720"/>
                  </a:lnTo>
                  <a:lnTo>
                    <a:pt x="699" y="727"/>
                  </a:lnTo>
                  <a:lnTo>
                    <a:pt x="697" y="731"/>
                  </a:lnTo>
                  <a:lnTo>
                    <a:pt x="694" y="737"/>
                  </a:lnTo>
                  <a:lnTo>
                    <a:pt x="690" y="741"/>
                  </a:lnTo>
                  <a:lnTo>
                    <a:pt x="686" y="745"/>
                  </a:lnTo>
                  <a:lnTo>
                    <a:pt x="682" y="749"/>
                  </a:lnTo>
                  <a:lnTo>
                    <a:pt x="678" y="753"/>
                  </a:lnTo>
                  <a:lnTo>
                    <a:pt x="672" y="756"/>
                  </a:lnTo>
                  <a:lnTo>
                    <a:pt x="667" y="758"/>
                  </a:lnTo>
                  <a:lnTo>
                    <a:pt x="662" y="760"/>
                  </a:lnTo>
                  <a:lnTo>
                    <a:pt x="656" y="762"/>
                  </a:lnTo>
                  <a:lnTo>
                    <a:pt x="650" y="762"/>
                  </a:lnTo>
                  <a:lnTo>
                    <a:pt x="643" y="763"/>
                  </a:lnTo>
                  <a:close/>
                  <a:moveTo>
                    <a:pt x="540" y="284"/>
                  </a:moveTo>
                  <a:lnTo>
                    <a:pt x="538" y="287"/>
                  </a:lnTo>
                  <a:lnTo>
                    <a:pt x="537" y="290"/>
                  </a:lnTo>
                  <a:lnTo>
                    <a:pt x="536" y="294"/>
                  </a:lnTo>
                  <a:lnTo>
                    <a:pt x="534" y="296"/>
                  </a:lnTo>
                  <a:lnTo>
                    <a:pt x="532" y="297"/>
                  </a:lnTo>
                  <a:lnTo>
                    <a:pt x="530" y="298"/>
                  </a:lnTo>
                  <a:lnTo>
                    <a:pt x="527" y="299"/>
                  </a:lnTo>
                  <a:lnTo>
                    <a:pt x="525" y="299"/>
                  </a:lnTo>
                  <a:lnTo>
                    <a:pt x="480" y="299"/>
                  </a:lnTo>
                  <a:lnTo>
                    <a:pt x="480" y="543"/>
                  </a:lnTo>
                  <a:lnTo>
                    <a:pt x="479" y="546"/>
                  </a:lnTo>
                  <a:lnTo>
                    <a:pt x="479" y="549"/>
                  </a:lnTo>
                  <a:lnTo>
                    <a:pt x="476" y="551"/>
                  </a:lnTo>
                  <a:lnTo>
                    <a:pt x="475" y="554"/>
                  </a:lnTo>
                  <a:lnTo>
                    <a:pt x="472" y="556"/>
                  </a:lnTo>
                  <a:lnTo>
                    <a:pt x="470" y="557"/>
                  </a:lnTo>
                  <a:lnTo>
                    <a:pt x="467" y="558"/>
                  </a:lnTo>
                  <a:lnTo>
                    <a:pt x="465" y="558"/>
                  </a:lnTo>
                  <a:lnTo>
                    <a:pt x="461" y="558"/>
                  </a:lnTo>
                  <a:lnTo>
                    <a:pt x="458" y="557"/>
                  </a:lnTo>
                  <a:lnTo>
                    <a:pt x="456" y="556"/>
                  </a:lnTo>
                  <a:lnTo>
                    <a:pt x="454" y="554"/>
                  </a:lnTo>
                  <a:lnTo>
                    <a:pt x="452" y="551"/>
                  </a:lnTo>
                  <a:lnTo>
                    <a:pt x="451" y="549"/>
                  </a:lnTo>
                  <a:lnTo>
                    <a:pt x="450" y="546"/>
                  </a:lnTo>
                  <a:lnTo>
                    <a:pt x="450" y="543"/>
                  </a:lnTo>
                  <a:lnTo>
                    <a:pt x="450" y="299"/>
                  </a:lnTo>
                  <a:lnTo>
                    <a:pt x="405" y="299"/>
                  </a:lnTo>
                  <a:lnTo>
                    <a:pt x="402" y="299"/>
                  </a:lnTo>
                  <a:lnTo>
                    <a:pt x="398" y="298"/>
                  </a:lnTo>
                  <a:lnTo>
                    <a:pt x="396" y="297"/>
                  </a:lnTo>
                  <a:lnTo>
                    <a:pt x="394" y="296"/>
                  </a:lnTo>
                  <a:lnTo>
                    <a:pt x="392" y="294"/>
                  </a:lnTo>
                  <a:lnTo>
                    <a:pt x="391" y="290"/>
                  </a:lnTo>
                  <a:lnTo>
                    <a:pt x="390" y="287"/>
                  </a:lnTo>
                  <a:lnTo>
                    <a:pt x="390" y="284"/>
                  </a:lnTo>
                  <a:lnTo>
                    <a:pt x="390" y="225"/>
                  </a:lnTo>
                  <a:lnTo>
                    <a:pt x="390" y="222"/>
                  </a:lnTo>
                  <a:lnTo>
                    <a:pt x="391" y="219"/>
                  </a:lnTo>
                  <a:lnTo>
                    <a:pt x="392" y="217"/>
                  </a:lnTo>
                  <a:lnTo>
                    <a:pt x="394" y="214"/>
                  </a:lnTo>
                  <a:lnTo>
                    <a:pt x="396" y="212"/>
                  </a:lnTo>
                  <a:lnTo>
                    <a:pt x="398" y="211"/>
                  </a:lnTo>
                  <a:lnTo>
                    <a:pt x="402" y="210"/>
                  </a:lnTo>
                  <a:lnTo>
                    <a:pt x="405" y="210"/>
                  </a:lnTo>
                  <a:lnTo>
                    <a:pt x="450" y="210"/>
                  </a:lnTo>
                  <a:lnTo>
                    <a:pt x="450" y="129"/>
                  </a:lnTo>
                  <a:lnTo>
                    <a:pt x="450" y="126"/>
                  </a:lnTo>
                  <a:lnTo>
                    <a:pt x="451" y="123"/>
                  </a:lnTo>
                  <a:lnTo>
                    <a:pt x="452" y="121"/>
                  </a:lnTo>
                  <a:lnTo>
                    <a:pt x="454" y="118"/>
                  </a:lnTo>
                  <a:lnTo>
                    <a:pt x="456" y="117"/>
                  </a:lnTo>
                  <a:lnTo>
                    <a:pt x="458" y="115"/>
                  </a:lnTo>
                  <a:lnTo>
                    <a:pt x="461" y="114"/>
                  </a:lnTo>
                  <a:lnTo>
                    <a:pt x="465" y="114"/>
                  </a:lnTo>
                  <a:lnTo>
                    <a:pt x="467" y="114"/>
                  </a:lnTo>
                  <a:lnTo>
                    <a:pt x="470" y="115"/>
                  </a:lnTo>
                  <a:lnTo>
                    <a:pt x="472" y="117"/>
                  </a:lnTo>
                  <a:lnTo>
                    <a:pt x="475" y="118"/>
                  </a:lnTo>
                  <a:lnTo>
                    <a:pt x="476" y="121"/>
                  </a:lnTo>
                  <a:lnTo>
                    <a:pt x="479" y="123"/>
                  </a:lnTo>
                  <a:lnTo>
                    <a:pt x="479" y="127"/>
                  </a:lnTo>
                  <a:lnTo>
                    <a:pt x="480" y="129"/>
                  </a:lnTo>
                  <a:lnTo>
                    <a:pt x="480" y="210"/>
                  </a:lnTo>
                  <a:lnTo>
                    <a:pt x="525" y="210"/>
                  </a:lnTo>
                  <a:lnTo>
                    <a:pt x="527" y="210"/>
                  </a:lnTo>
                  <a:lnTo>
                    <a:pt x="530" y="211"/>
                  </a:lnTo>
                  <a:lnTo>
                    <a:pt x="532" y="212"/>
                  </a:lnTo>
                  <a:lnTo>
                    <a:pt x="534" y="214"/>
                  </a:lnTo>
                  <a:lnTo>
                    <a:pt x="536" y="217"/>
                  </a:lnTo>
                  <a:lnTo>
                    <a:pt x="537" y="219"/>
                  </a:lnTo>
                  <a:lnTo>
                    <a:pt x="538" y="222"/>
                  </a:lnTo>
                  <a:lnTo>
                    <a:pt x="540" y="225"/>
                  </a:lnTo>
                  <a:lnTo>
                    <a:pt x="540" y="284"/>
                  </a:lnTo>
                  <a:close/>
                  <a:moveTo>
                    <a:pt x="465" y="763"/>
                  </a:moveTo>
                  <a:lnTo>
                    <a:pt x="458" y="762"/>
                  </a:lnTo>
                  <a:lnTo>
                    <a:pt x="452" y="762"/>
                  </a:lnTo>
                  <a:lnTo>
                    <a:pt x="446" y="760"/>
                  </a:lnTo>
                  <a:lnTo>
                    <a:pt x="441" y="758"/>
                  </a:lnTo>
                  <a:lnTo>
                    <a:pt x="436" y="756"/>
                  </a:lnTo>
                  <a:lnTo>
                    <a:pt x="430" y="753"/>
                  </a:lnTo>
                  <a:lnTo>
                    <a:pt x="426" y="749"/>
                  </a:lnTo>
                  <a:lnTo>
                    <a:pt x="422" y="745"/>
                  </a:lnTo>
                  <a:lnTo>
                    <a:pt x="419" y="741"/>
                  </a:lnTo>
                  <a:lnTo>
                    <a:pt x="414" y="737"/>
                  </a:lnTo>
                  <a:lnTo>
                    <a:pt x="412" y="731"/>
                  </a:lnTo>
                  <a:lnTo>
                    <a:pt x="409" y="727"/>
                  </a:lnTo>
                  <a:lnTo>
                    <a:pt x="407" y="720"/>
                  </a:lnTo>
                  <a:lnTo>
                    <a:pt x="406" y="715"/>
                  </a:lnTo>
                  <a:lnTo>
                    <a:pt x="405" y="710"/>
                  </a:lnTo>
                  <a:lnTo>
                    <a:pt x="405" y="703"/>
                  </a:lnTo>
                  <a:lnTo>
                    <a:pt x="405" y="697"/>
                  </a:lnTo>
                  <a:lnTo>
                    <a:pt x="406" y="692"/>
                  </a:lnTo>
                  <a:lnTo>
                    <a:pt x="407" y="685"/>
                  </a:lnTo>
                  <a:lnTo>
                    <a:pt x="409" y="680"/>
                  </a:lnTo>
                  <a:lnTo>
                    <a:pt x="412" y="674"/>
                  </a:lnTo>
                  <a:lnTo>
                    <a:pt x="414" y="670"/>
                  </a:lnTo>
                  <a:lnTo>
                    <a:pt x="419" y="665"/>
                  </a:lnTo>
                  <a:lnTo>
                    <a:pt x="422" y="661"/>
                  </a:lnTo>
                  <a:lnTo>
                    <a:pt x="426" y="657"/>
                  </a:lnTo>
                  <a:lnTo>
                    <a:pt x="430" y="653"/>
                  </a:lnTo>
                  <a:lnTo>
                    <a:pt x="436" y="651"/>
                  </a:lnTo>
                  <a:lnTo>
                    <a:pt x="441" y="648"/>
                  </a:lnTo>
                  <a:lnTo>
                    <a:pt x="446" y="646"/>
                  </a:lnTo>
                  <a:lnTo>
                    <a:pt x="452" y="645"/>
                  </a:lnTo>
                  <a:lnTo>
                    <a:pt x="458" y="643"/>
                  </a:lnTo>
                  <a:lnTo>
                    <a:pt x="465" y="643"/>
                  </a:lnTo>
                  <a:lnTo>
                    <a:pt x="470" y="643"/>
                  </a:lnTo>
                  <a:lnTo>
                    <a:pt x="476" y="645"/>
                  </a:lnTo>
                  <a:lnTo>
                    <a:pt x="482" y="646"/>
                  </a:lnTo>
                  <a:lnTo>
                    <a:pt x="487" y="648"/>
                  </a:lnTo>
                  <a:lnTo>
                    <a:pt x="492" y="651"/>
                  </a:lnTo>
                  <a:lnTo>
                    <a:pt x="498" y="653"/>
                  </a:lnTo>
                  <a:lnTo>
                    <a:pt x="502" y="657"/>
                  </a:lnTo>
                  <a:lnTo>
                    <a:pt x="506" y="661"/>
                  </a:lnTo>
                  <a:lnTo>
                    <a:pt x="511" y="665"/>
                  </a:lnTo>
                  <a:lnTo>
                    <a:pt x="514" y="670"/>
                  </a:lnTo>
                  <a:lnTo>
                    <a:pt x="517" y="674"/>
                  </a:lnTo>
                  <a:lnTo>
                    <a:pt x="519" y="680"/>
                  </a:lnTo>
                  <a:lnTo>
                    <a:pt x="521" y="685"/>
                  </a:lnTo>
                  <a:lnTo>
                    <a:pt x="522" y="692"/>
                  </a:lnTo>
                  <a:lnTo>
                    <a:pt x="524" y="697"/>
                  </a:lnTo>
                  <a:lnTo>
                    <a:pt x="525" y="703"/>
                  </a:lnTo>
                  <a:lnTo>
                    <a:pt x="524" y="710"/>
                  </a:lnTo>
                  <a:lnTo>
                    <a:pt x="522" y="715"/>
                  </a:lnTo>
                  <a:lnTo>
                    <a:pt x="521" y="720"/>
                  </a:lnTo>
                  <a:lnTo>
                    <a:pt x="519" y="727"/>
                  </a:lnTo>
                  <a:lnTo>
                    <a:pt x="517" y="731"/>
                  </a:lnTo>
                  <a:lnTo>
                    <a:pt x="514" y="737"/>
                  </a:lnTo>
                  <a:lnTo>
                    <a:pt x="511" y="741"/>
                  </a:lnTo>
                  <a:lnTo>
                    <a:pt x="506" y="745"/>
                  </a:lnTo>
                  <a:lnTo>
                    <a:pt x="502" y="749"/>
                  </a:lnTo>
                  <a:lnTo>
                    <a:pt x="498" y="753"/>
                  </a:lnTo>
                  <a:lnTo>
                    <a:pt x="492" y="756"/>
                  </a:lnTo>
                  <a:lnTo>
                    <a:pt x="487" y="758"/>
                  </a:lnTo>
                  <a:lnTo>
                    <a:pt x="482" y="760"/>
                  </a:lnTo>
                  <a:lnTo>
                    <a:pt x="476" y="762"/>
                  </a:lnTo>
                  <a:lnTo>
                    <a:pt x="470" y="762"/>
                  </a:lnTo>
                  <a:lnTo>
                    <a:pt x="465" y="763"/>
                  </a:lnTo>
                  <a:close/>
                  <a:moveTo>
                    <a:pt x="330" y="404"/>
                  </a:moveTo>
                  <a:lnTo>
                    <a:pt x="330" y="407"/>
                  </a:lnTo>
                  <a:lnTo>
                    <a:pt x="329" y="410"/>
                  </a:lnTo>
                  <a:lnTo>
                    <a:pt x="328" y="412"/>
                  </a:lnTo>
                  <a:lnTo>
                    <a:pt x="326" y="414"/>
                  </a:lnTo>
                  <a:lnTo>
                    <a:pt x="323" y="417"/>
                  </a:lnTo>
                  <a:lnTo>
                    <a:pt x="320" y="418"/>
                  </a:lnTo>
                  <a:lnTo>
                    <a:pt x="318" y="419"/>
                  </a:lnTo>
                  <a:lnTo>
                    <a:pt x="315" y="419"/>
                  </a:lnTo>
                  <a:lnTo>
                    <a:pt x="270" y="419"/>
                  </a:lnTo>
                  <a:lnTo>
                    <a:pt x="270" y="543"/>
                  </a:lnTo>
                  <a:lnTo>
                    <a:pt x="270" y="546"/>
                  </a:lnTo>
                  <a:lnTo>
                    <a:pt x="269" y="549"/>
                  </a:lnTo>
                  <a:lnTo>
                    <a:pt x="268" y="551"/>
                  </a:lnTo>
                  <a:lnTo>
                    <a:pt x="266" y="554"/>
                  </a:lnTo>
                  <a:lnTo>
                    <a:pt x="263" y="556"/>
                  </a:lnTo>
                  <a:lnTo>
                    <a:pt x="260" y="557"/>
                  </a:lnTo>
                  <a:lnTo>
                    <a:pt x="258" y="558"/>
                  </a:lnTo>
                  <a:lnTo>
                    <a:pt x="255" y="558"/>
                  </a:lnTo>
                  <a:lnTo>
                    <a:pt x="252" y="558"/>
                  </a:lnTo>
                  <a:lnTo>
                    <a:pt x="250" y="557"/>
                  </a:lnTo>
                  <a:lnTo>
                    <a:pt x="246" y="556"/>
                  </a:lnTo>
                  <a:lnTo>
                    <a:pt x="244" y="554"/>
                  </a:lnTo>
                  <a:lnTo>
                    <a:pt x="242" y="551"/>
                  </a:lnTo>
                  <a:lnTo>
                    <a:pt x="241" y="549"/>
                  </a:lnTo>
                  <a:lnTo>
                    <a:pt x="240" y="546"/>
                  </a:lnTo>
                  <a:lnTo>
                    <a:pt x="240" y="543"/>
                  </a:lnTo>
                  <a:lnTo>
                    <a:pt x="240" y="419"/>
                  </a:lnTo>
                  <a:lnTo>
                    <a:pt x="195" y="419"/>
                  </a:lnTo>
                  <a:lnTo>
                    <a:pt x="192" y="419"/>
                  </a:lnTo>
                  <a:lnTo>
                    <a:pt x="190" y="418"/>
                  </a:lnTo>
                  <a:lnTo>
                    <a:pt x="186" y="417"/>
                  </a:lnTo>
                  <a:lnTo>
                    <a:pt x="184" y="414"/>
                  </a:lnTo>
                  <a:lnTo>
                    <a:pt x="183" y="412"/>
                  </a:lnTo>
                  <a:lnTo>
                    <a:pt x="181" y="410"/>
                  </a:lnTo>
                  <a:lnTo>
                    <a:pt x="180" y="407"/>
                  </a:lnTo>
                  <a:lnTo>
                    <a:pt x="180" y="404"/>
                  </a:lnTo>
                  <a:lnTo>
                    <a:pt x="180" y="344"/>
                  </a:lnTo>
                  <a:lnTo>
                    <a:pt x="180" y="342"/>
                  </a:lnTo>
                  <a:lnTo>
                    <a:pt x="181" y="339"/>
                  </a:lnTo>
                  <a:lnTo>
                    <a:pt x="183" y="336"/>
                  </a:lnTo>
                  <a:lnTo>
                    <a:pt x="184" y="334"/>
                  </a:lnTo>
                  <a:lnTo>
                    <a:pt x="186" y="332"/>
                  </a:lnTo>
                  <a:lnTo>
                    <a:pt x="190" y="331"/>
                  </a:lnTo>
                  <a:lnTo>
                    <a:pt x="192" y="330"/>
                  </a:lnTo>
                  <a:lnTo>
                    <a:pt x="195" y="329"/>
                  </a:lnTo>
                  <a:lnTo>
                    <a:pt x="240" y="329"/>
                  </a:lnTo>
                  <a:lnTo>
                    <a:pt x="240" y="129"/>
                  </a:lnTo>
                  <a:lnTo>
                    <a:pt x="240" y="126"/>
                  </a:lnTo>
                  <a:lnTo>
                    <a:pt x="241" y="123"/>
                  </a:lnTo>
                  <a:lnTo>
                    <a:pt x="242" y="121"/>
                  </a:lnTo>
                  <a:lnTo>
                    <a:pt x="244" y="118"/>
                  </a:lnTo>
                  <a:lnTo>
                    <a:pt x="246" y="117"/>
                  </a:lnTo>
                  <a:lnTo>
                    <a:pt x="250" y="115"/>
                  </a:lnTo>
                  <a:lnTo>
                    <a:pt x="252" y="114"/>
                  </a:lnTo>
                  <a:lnTo>
                    <a:pt x="255" y="114"/>
                  </a:lnTo>
                  <a:lnTo>
                    <a:pt x="258" y="114"/>
                  </a:lnTo>
                  <a:lnTo>
                    <a:pt x="260" y="115"/>
                  </a:lnTo>
                  <a:lnTo>
                    <a:pt x="263" y="117"/>
                  </a:lnTo>
                  <a:lnTo>
                    <a:pt x="266" y="118"/>
                  </a:lnTo>
                  <a:lnTo>
                    <a:pt x="268" y="121"/>
                  </a:lnTo>
                  <a:lnTo>
                    <a:pt x="269" y="123"/>
                  </a:lnTo>
                  <a:lnTo>
                    <a:pt x="270" y="127"/>
                  </a:lnTo>
                  <a:lnTo>
                    <a:pt x="270" y="129"/>
                  </a:lnTo>
                  <a:lnTo>
                    <a:pt x="270" y="329"/>
                  </a:lnTo>
                  <a:lnTo>
                    <a:pt x="315" y="329"/>
                  </a:lnTo>
                  <a:lnTo>
                    <a:pt x="318" y="330"/>
                  </a:lnTo>
                  <a:lnTo>
                    <a:pt x="320" y="331"/>
                  </a:lnTo>
                  <a:lnTo>
                    <a:pt x="323" y="332"/>
                  </a:lnTo>
                  <a:lnTo>
                    <a:pt x="326" y="334"/>
                  </a:lnTo>
                  <a:lnTo>
                    <a:pt x="328" y="336"/>
                  </a:lnTo>
                  <a:lnTo>
                    <a:pt x="329" y="339"/>
                  </a:lnTo>
                  <a:lnTo>
                    <a:pt x="330" y="342"/>
                  </a:lnTo>
                  <a:lnTo>
                    <a:pt x="330" y="344"/>
                  </a:lnTo>
                  <a:lnTo>
                    <a:pt x="330" y="404"/>
                  </a:lnTo>
                  <a:close/>
                  <a:moveTo>
                    <a:pt x="255" y="763"/>
                  </a:moveTo>
                  <a:lnTo>
                    <a:pt x="249" y="762"/>
                  </a:lnTo>
                  <a:lnTo>
                    <a:pt x="243" y="762"/>
                  </a:lnTo>
                  <a:lnTo>
                    <a:pt x="237" y="760"/>
                  </a:lnTo>
                  <a:lnTo>
                    <a:pt x="231" y="758"/>
                  </a:lnTo>
                  <a:lnTo>
                    <a:pt x="226" y="756"/>
                  </a:lnTo>
                  <a:lnTo>
                    <a:pt x="222" y="753"/>
                  </a:lnTo>
                  <a:lnTo>
                    <a:pt x="216" y="749"/>
                  </a:lnTo>
                  <a:lnTo>
                    <a:pt x="212" y="745"/>
                  </a:lnTo>
                  <a:lnTo>
                    <a:pt x="209" y="741"/>
                  </a:lnTo>
                  <a:lnTo>
                    <a:pt x="206" y="737"/>
                  </a:lnTo>
                  <a:lnTo>
                    <a:pt x="203" y="731"/>
                  </a:lnTo>
                  <a:lnTo>
                    <a:pt x="200" y="727"/>
                  </a:lnTo>
                  <a:lnTo>
                    <a:pt x="198" y="720"/>
                  </a:lnTo>
                  <a:lnTo>
                    <a:pt x="196" y="715"/>
                  </a:lnTo>
                  <a:lnTo>
                    <a:pt x="195" y="710"/>
                  </a:lnTo>
                  <a:lnTo>
                    <a:pt x="195" y="703"/>
                  </a:lnTo>
                  <a:lnTo>
                    <a:pt x="195" y="697"/>
                  </a:lnTo>
                  <a:lnTo>
                    <a:pt x="196" y="692"/>
                  </a:lnTo>
                  <a:lnTo>
                    <a:pt x="198" y="685"/>
                  </a:lnTo>
                  <a:lnTo>
                    <a:pt x="200" y="680"/>
                  </a:lnTo>
                  <a:lnTo>
                    <a:pt x="203" y="674"/>
                  </a:lnTo>
                  <a:lnTo>
                    <a:pt x="206" y="670"/>
                  </a:lnTo>
                  <a:lnTo>
                    <a:pt x="209" y="665"/>
                  </a:lnTo>
                  <a:lnTo>
                    <a:pt x="212" y="661"/>
                  </a:lnTo>
                  <a:lnTo>
                    <a:pt x="216" y="657"/>
                  </a:lnTo>
                  <a:lnTo>
                    <a:pt x="222" y="653"/>
                  </a:lnTo>
                  <a:lnTo>
                    <a:pt x="226" y="651"/>
                  </a:lnTo>
                  <a:lnTo>
                    <a:pt x="231" y="648"/>
                  </a:lnTo>
                  <a:lnTo>
                    <a:pt x="237" y="646"/>
                  </a:lnTo>
                  <a:lnTo>
                    <a:pt x="243" y="645"/>
                  </a:lnTo>
                  <a:lnTo>
                    <a:pt x="249" y="643"/>
                  </a:lnTo>
                  <a:lnTo>
                    <a:pt x="255" y="643"/>
                  </a:lnTo>
                  <a:lnTo>
                    <a:pt x="261" y="643"/>
                  </a:lnTo>
                  <a:lnTo>
                    <a:pt x="267" y="645"/>
                  </a:lnTo>
                  <a:lnTo>
                    <a:pt x="273" y="646"/>
                  </a:lnTo>
                  <a:lnTo>
                    <a:pt x="278" y="648"/>
                  </a:lnTo>
                  <a:lnTo>
                    <a:pt x="284" y="651"/>
                  </a:lnTo>
                  <a:lnTo>
                    <a:pt x="288" y="653"/>
                  </a:lnTo>
                  <a:lnTo>
                    <a:pt x="293" y="657"/>
                  </a:lnTo>
                  <a:lnTo>
                    <a:pt x="298" y="661"/>
                  </a:lnTo>
                  <a:lnTo>
                    <a:pt x="301" y="665"/>
                  </a:lnTo>
                  <a:lnTo>
                    <a:pt x="304" y="670"/>
                  </a:lnTo>
                  <a:lnTo>
                    <a:pt x="307" y="674"/>
                  </a:lnTo>
                  <a:lnTo>
                    <a:pt x="311" y="680"/>
                  </a:lnTo>
                  <a:lnTo>
                    <a:pt x="312" y="685"/>
                  </a:lnTo>
                  <a:lnTo>
                    <a:pt x="314" y="692"/>
                  </a:lnTo>
                  <a:lnTo>
                    <a:pt x="315" y="697"/>
                  </a:lnTo>
                  <a:lnTo>
                    <a:pt x="315" y="703"/>
                  </a:lnTo>
                  <a:lnTo>
                    <a:pt x="315" y="710"/>
                  </a:lnTo>
                  <a:lnTo>
                    <a:pt x="314" y="715"/>
                  </a:lnTo>
                  <a:lnTo>
                    <a:pt x="312" y="720"/>
                  </a:lnTo>
                  <a:lnTo>
                    <a:pt x="311" y="727"/>
                  </a:lnTo>
                  <a:lnTo>
                    <a:pt x="307" y="731"/>
                  </a:lnTo>
                  <a:lnTo>
                    <a:pt x="304" y="737"/>
                  </a:lnTo>
                  <a:lnTo>
                    <a:pt x="301" y="741"/>
                  </a:lnTo>
                  <a:lnTo>
                    <a:pt x="298" y="745"/>
                  </a:lnTo>
                  <a:lnTo>
                    <a:pt x="293" y="749"/>
                  </a:lnTo>
                  <a:lnTo>
                    <a:pt x="288" y="753"/>
                  </a:lnTo>
                  <a:lnTo>
                    <a:pt x="284" y="756"/>
                  </a:lnTo>
                  <a:lnTo>
                    <a:pt x="278" y="758"/>
                  </a:lnTo>
                  <a:lnTo>
                    <a:pt x="273" y="760"/>
                  </a:lnTo>
                  <a:lnTo>
                    <a:pt x="267" y="762"/>
                  </a:lnTo>
                  <a:lnTo>
                    <a:pt x="261" y="762"/>
                  </a:lnTo>
                  <a:lnTo>
                    <a:pt x="255" y="763"/>
                  </a:lnTo>
                  <a:close/>
                  <a:moveTo>
                    <a:pt x="883" y="0"/>
                  </a:moveTo>
                  <a:lnTo>
                    <a:pt x="15" y="0"/>
                  </a:lnTo>
                  <a:lnTo>
                    <a:pt x="13" y="0"/>
                  </a:lnTo>
                  <a:lnTo>
                    <a:pt x="10" y="2"/>
                  </a:lnTo>
                  <a:lnTo>
                    <a:pt x="8" y="3"/>
                  </a:lnTo>
                  <a:lnTo>
                    <a:pt x="6" y="5"/>
                  </a:lnTo>
                  <a:lnTo>
                    <a:pt x="3" y="7"/>
                  </a:lnTo>
                  <a:lnTo>
                    <a:pt x="2" y="10"/>
                  </a:lnTo>
                  <a:lnTo>
                    <a:pt x="1" y="12"/>
                  </a:lnTo>
                  <a:lnTo>
                    <a:pt x="0" y="15"/>
                  </a:lnTo>
                  <a:lnTo>
                    <a:pt x="0" y="883"/>
                  </a:lnTo>
                  <a:lnTo>
                    <a:pt x="1" y="886"/>
                  </a:lnTo>
                  <a:lnTo>
                    <a:pt x="2" y="888"/>
                  </a:lnTo>
                  <a:lnTo>
                    <a:pt x="3" y="892"/>
                  </a:lnTo>
                  <a:lnTo>
                    <a:pt x="6" y="894"/>
                  </a:lnTo>
                  <a:lnTo>
                    <a:pt x="8" y="895"/>
                  </a:lnTo>
                  <a:lnTo>
                    <a:pt x="10" y="897"/>
                  </a:lnTo>
                  <a:lnTo>
                    <a:pt x="13" y="897"/>
                  </a:lnTo>
                  <a:lnTo>
                    <a:pt x="15" y="898"/>
                  </a:lnTo>
                  <a:lnTo>
                    <a:pt x="883" y="898"/>
                  </a:lnTo>
                  <a:lnTo>
                    <a:pt x="886" y="897"/>
                  </a:lnTo>
                  <a:lnTo>
                    <a:pt x="888" y="897"/>
                  </a:lnTo>
                  <a:lnTo>
                    <a:pt x="892" y="895"/>
                  </a:lnTo>
                  <a:lnTo>
                    <a:pt x="894" y="894"/>
                  </a:lnTo>
                  <a:lnTo>
                    <a:pt x="896" y="892"/>
                  </a:lnTo>
                  <a:lnTo>
                    <a:pt x="897" y="888"/>
                  </a:lnTo>
                  <a:lnTo>
                    <a:pt x="898" y="886"/>
                  </a:lnTo>
                  <a:lnTo>
                    <a:pt x="898" y="883"/>
                  </a:lnTo>
                  <a:lnTo>
                    <a:pt x="898" y="15"/>
                  </a:lnTo>
                  <a:lnTo>
                    <a:pt x="898" y="12"/>
                  </a:lnTo>
                  <a:lnTo>
                    <a:pt x="897" y="10"/>
                  </a:lnTo>
                  <a:lnTo>
                    <a:pt x="896" y="7"/>
                  </a:lnTo>
                  <a:lnTo>
                    <a:pt x="894" y="5"/>
                  </a:lnTo>
                  <a:lnTo>
                    <a:pt x="892" y="3"/>
                  </a:lnTo>
                  <a:lnTo>
                    <a:pt x="888" y="2"/>
                  </a:lnTo>
                  <a:lnTo>
                    <a:pt x="886" y="0"/>
                  </a:lnTo>
                  <a:lnTo>
                    <a:pt x="883"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b="1"/>
            </a:p>
          </p:txBody>
        </p:sp>
        <p:sp>
          <p:nvSpPr>
            <p:cNvPr id="46" name="Rectangle 45">
              <a:extLst>
                <a:ext uri="{FF2B5EF4-FFF2-40B4-BE49-F238E27FC236}">
                  <a16:creationId xmlns:a16="http://schemas.microsoft.com/office/drawing/2014/main" id="{E45BF1DF-4C7A-4A7F-8727-B7110F2D25ED}"/>
                </a:ext>
              </a:extLst>
            </p:cNvPr>
            <p:cNvSpPr/>
            <p:nvPr/>
          </p:nvSpPr>
          <p:spPr>
            <a:xfrm>
              <a:off x="9342265" y="4489514"/>
              <a:ext cx="2188782" cy="276999"/>
            </a:xfrm>
            <a:prstGeom prst="rect">
              <a:avLst/>
            </a:prstGeom>
          </p:spPr>
          <p:txBody>
            <a:bodyPr wrap="square" lIns="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1">
                  <a:solidFill>
                    <a:schemeClr val="bg1"/>
                  </a:solidFill>
                  <a:latin typeface="Book Antiqua" panose="02040602050305030304" pitchFamily="18" charset="0"/>
                </a:rPr>
                <a:t>Future Scope</a:t>
              </a:r>
            </a:p>
          </p:txBody>
        </p:sp>
      </p:grpSp>
    </p:spTree>
    <p:extLst>
      <p:ext uri="{BB962C8B-B14F-4D97-AF65-F5344CB8AC3E}">
        <p14:creationId xmlns:p14="http://schemas.microsoft.com/office/powerpoint/2010/main" val="39489485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D3D933CA-C768-4E62-BAA4-4CB553AF3644}"/>
              </a:ext>
            </a:extLst>
          </p:cNvPr>
          <p:cNvSpPr txBox="1"/>
          <p:nvPr/>
        </p:nvSpPr>
        <p:spPr>
          <a:xfrm>
            <a:off x="233082" y="251012"/>
            <a:ext cx="10941978" cy="523220"/>
          </a:xfrm>
          <a:prstGeom prst="rect">
            <a:avLst/>
          </a:prstGeom>
          <a:noFill/>
        </p:spPr>
        <p:txBody>
          <a:bodyPr wrap="square" rtlCol="0">
            <a:spAutoFit/>
          </a:bodyPr>
          <a:lstStyle/>
          <a:p>
            <a:r>
              <a:rPr lang="en-US" sz="2800" b="1">
                <a:latin typeface="Georgia" panose="02040502050405020303" pitchFamily="18" charset="0"/>
              </a:rPr>
              <a:t>The use of PPGs transcends industries</a:t>
            </a:r>
          </a:p>
        </p:txBody>
      </p:sp>
      <p:sp>
        <p:nvSpPr>
          <p:cNvPr id="11" name="Rectangle 10">
            <a:extLst>
              <a:ext uri="{FF2B5EF4-FFF2-40B4-BE49-F238E27FC236}">
                <a16:creationId xmlns:a16="http://schemas.microsoft.com/office/drawing/2014/main" id="{78BB5854-B37B-4092-8ADC-9AA8C2549326}"/>
              </a:ext>
            </a:extLst>
          </p:cNvPr>
          <p:cNvSpPr/>
          <p:nvPr/>
        </p:nvSpPr>
        <p:spPr>
          <a:xfrm>
            <a:off x="400050" y="6812280"/>
            <a:ext cx="11791579" cy="4572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a:t>
            </a:r>
          </a:p>
        </p:txBody>
      </p:sp>
      <p:pic>
        <p:nvPicPr>
          <p:cNvPr id="12" name="Graphic 11" descr="Toothpaste">
            <a:extLst>
              <a:ext uri="{FF2B5EF4-FFF2-40B4-BE49-F238E27FC236}">
                <a16:creationId xmlns:a16="http://schemas.microsoft.com/office/drawing/2014/main" id="{2C902027-4A68-4DA2-889F-36D1D2B46C9E}"/>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6219692">
            <a:off x="-34366" y="6088478"/>
            <a:ext cx="598153" cy="598153"/>
          </a:xfrm>
          <a:prstGeom prst="rect">
            <a:avLst/>
          </a:prstGeom>
        </p:spPr>
      </p:pic>
      <p:pic>
        <p:nvPicPr>
          <p:cNvPr id="13" name="Graphic 12" descr="Snake">
            <a:extLst>
              <a:ext uri="{FF2B5EF4-FFF2-40B4-BE49-F238E27FC236}">
                <a16:creationId xmlns:a16="http://schemas.microsoft.com/office/drawing/2014/main" id="{D7953025-07A0-443C-8151-63B0CC376D1B}"/>
              </a:ext>
            </a:extLst>
          </p:cNvPr>
          <p:cNvPicPr>
            <a:picLocks noChangeAspect="1"/>
          </p:cNvPicPr>
          <p:nvPr/>
        </p:nvPicPr>
        <p:blipFill rotWithShape="1">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rcRect l="-2" t="56027" r="47111"/>
          <a:stretch/>
        </p:blipFill>
        <p:spPr>
          <a:xfrm rot="7001259">
            <a:off x="297005" y="6680310"/>
            <a:ext cx="336423" cy="279713"/>
          </a:xfrm>
          <a:prstGeom prst="rect">
            <a:avLst/>
          </a:prstGeom>
        </p:spPr>
      </p:pic>
      <p:grpSp>
        <p:nvGrpSpPr>
          <p:cNvPr id="27" name="Group 26">
            <a:extLst>
              <a:ext uri="{FF2B5EF4-FFF2-40B4-BE49-F238E27FC236}">
                <a16:creationId xmlns:a16="http://schemas.microsoft.com/office/drawing/2014/main" id="{FF6DBEC1-D4AE-46A3-BF88-74DFDEE6B246}"/>
              </a:ext>
            </a:extLst>
          </p:cNvPr>
          <p:cNvGrpSpPr/>
          <p:nvPr/>
        </p:nvGrpSpPr>
        <p:grpSpPr>
          <a:xfrm>
            <a:off x="7710970" y="3185281"/>
            <a:ext cx="3457632" cy="1438467"/>
            <a:chOff x="7710970" y="2681033"/>
            <a:chExt cx="3457632" cy="1438467"/>
          </a:xfrm>
        </p:grpSpPr>
        <p:pic>
          <p:nvPicPr>
            <p:cNvPr id="4" name="Picture 3">
              <a:extLst>
                <a:ext uri="{FF2B5EF4-FFF2-40B4-BE49-F238E27FC236}">
                  <a16:creationId xmlns:a16="http://schemas.microsoft.com/office/drawing/2014/main" id="{6E852C2F-FE65-417E-A495-4286F2E4EB74}"/>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7710970" y="2775203"/>
              <a:ext cx="1413128" cy="1270907"/>
            </a:xfrm>
            <a:prstGeom prst="rect">
              <a:avLst/>
            </a:prstGeom>
          </p:spPr>
        </p:pic>
        <p:pic>
          <p:nvPicPr>
            <p:cNvPr id="2" name="Picture 1">
              <a:extLst>
                <a:ext uri="{FF2B5EF4-FFF2-40B4-BE49-F238E27FC236}">
                  <a16:creationId xmlns:a16="http://schemas.microsoft.com/office/drawing/2014/main" id="{3415E771-CF74-4DC4-81B6-832F66700AC8}"/>
                </a:ext>
              </a:extLst>
            </p:cNvPr>
            <p:cNvPicPr>
              <a:picLocks noChangeAspect="1"/>
            </p:cNvPicPr>
            <p:nvPr/>
          </p:nvPicPr>
          <p:blipFill>
            <a:blip r:embed="rId7">
              <a:clrChange>
                <a:clrFrom>
                  <a:srgbClr val="FFFFFF"/>
                </a:clrFrom>
                <a:clrTo>
                  <a:srgbClr val="FFFFFF">
                    <a:alpha val="0"/>
                  </a:srgbClr>
                </a:clrTo>
              </a:clrChange>
            </a:blip>
            <a:stretch>
              <a:fillRect/>
            </a:stretch>
          </p:blipFill>
          <p:spPr>
            <a:xfrm>
              <a:off x="9262724" y="2681033"/>
              <a:ext cx="1905878" cy="1438467"/>
            </a:xfrm>
            <a:prstGeom prst="rect">
              <a:avLst/>
            </a:prstGeom>
          </p:spPr>
        </p:pic>
      </p:grpSp>
      <p:pic>
        <p:nvPicPr>
          <p:cNvPr id="3" name="Picture 2">
            <a:extLst>
              <a:ext uri="{FF2B5EF4-FFF2-40B4-BE49-F238E27FC236}">
                <a16:creationId xmlns:a16="http://schemas.microsoft.com/office/drawing/2014/main" id="{78BEC732-D9F3-43EF-8FAE-796786D56794}"/>
              </a:ext>
            </a:extLst>
          </p:cNvPr>
          <p:cNvPicPr>
            <a:picLocks noChangeAspect="1"/>
          </p:cNvPicPr>
          <p:nvPr/>
        </p:nvPicPr>
        <p:blipFill>
          <a:blip r:embed="rId8">
            <a:clrChange>
              <a:clrFrom>
                <a:srgbClr val="FFFFFF"/>
              </a:clrFrom>
              <a:clrTo>
                <a:srgbClr val="FFFFFF">
                  <a:alpha val="0"/>
                </a:srgbClr>
              </a:clrTo>
            </a:clrChange>
          </a:blip>
          <a:stretch>
            <a:fillRect/>
          </a:stretch>
        </p:blipFill>
        <p:spPr>
          <a:xfrm>
            <a:off x="625964" y="3029285"/>
            <a:ext cx="3769859" cy="1807925"/>
          </a:xfrm>
          <a:prstGeom prst="rect">
            <a:avLst/>
          </a:prstGeom>
        </p:spPr>
      </p:pic>
      <p:grpSp>
        <p:nvGrpSpPr>
          <p:cNvPr id="6" name="Group 5">
            <a:extLst>
              <a:ext uri="{FF2B5EF4-FFF2-40B4-BE49-F238E27FC236}">
                <a16:creationId xmlns:a16="http://schemas.microsoft.com/office/drawing/2014/main" id="{3F7723DE-B25B-4CAD-9415-773F5DA1A0C6}"/>
              </a:ext>
            </a:extLst>
          </p:cNvPr>
          <p:cNvGrpSpPr/>
          <p:nvPr/>
        </p:nvGrpSpPr>
        <p:grpSpPr>
          <a:xfrm>
            <a:off x="3322408" y="1510743"/>
            <a:ext cx="4701893" cy="1343270"/>
            <a:chOff x="3322408" y="1006495"/>
            <a:chExt cx="4701893" cy="1343270"/>
          </a:xfrm>
        </p:grpSpPr>
        <p:pic>
          <p:nvPicPr>
            <p:cNvPr id="5" name="Picture 4">
              <a:extLst>
                <a:ext uri="{FF2B5EF4-FFF2-40B4-BE49-F238E27FC236}">
                  <a16:creationId xmlns:a16="http://schemas.microsoft.com/office/drawing/2014/main" id="{B64D296E-28F8-4F8A-8E1F-9117961C9421}"/>
                </a:ext>
              </a:extLst>
            </p:cNvPr>
            <p:cNvPicPr>
              <a:picLocks noChangeAspect="1"/>
            </p:cNvPicPr>
            <p:nvPr/>
          </p:nvPicPr>
          <p:blipFill>
            <a:blip r:embed="rId9">
              <a:clrChange>
                <a:clrFrom>
                  <a:srgbClr val="FFFFFF"/>
                </a:clrFrom>
                <a:clrTo>
                  <a:srgbClr val="FFFFFF">
                    <a:alpha val="0"/>
                  </a:srgbClr>
                </a:clrTo>
              </a:clrChange>
            </a:blip>
            <a:stretch>
              <a:fillRect/>
            </a:stretch>
          </p:blipFill>
          <p:spPr>
            <a:xfrm>
              <a:off x="3322408" y="1220235"/>
              <a:ext cx="2155855" cy="1129530"/>
            </a:xfrm>
            <a:prstGeom prst="rect">
              <a:avLst/>
            </a:prstGeom>
          </p:spPr>
        </p:pic>
        <p:pic>
          <p:nvPicPr>
            <p:cNvPr id="8" name="Picture 7">
              <a:extLst>
                <a:ext uri="{FF2B5EF4-FFF2-40B4-BE49-F238E27FC236}">
                  <a16:creationId xmlns:a16="http://schemas.microsoft.com/office/drawing/2014/main" id="{BAA89DCD-9101-495E-8700-17987A1D3200}"/>
                </a:ext>
              </a:extLst>
            </p:cNvPr>
            <p:cNvPicPr>
              <a:picLocks noChangeAspect="1"/>
            </p:cNvPicPr>
            <p:nvPr/>
          </p:nvPicPr>
          <p:blipFill>
            <a:blip r:embed="rId10">
              <a:clrChange>
                <a:clrFrom>
                  <a:srgbClr val="FFFFFF"/>
                </a:clrFrom>
                <a:clrTo>
                  <a:srgbClr val="FFFFFF">
                    <a:alpha val="0"/>
                  </a:srgbClr>
                </a:clrTo>
              </a:clrChange>
            </a:blip>
            <a:stretch>
              <a:fillRect/>
            </a:stretch>
          </p:blipFill>
          <p:spPr>
            <a:xfrm>
              <a:off x="5342096" y="1006495"/>
              <a:ext cx="1371643" cy="1193366"/>
            </a:xfrm>
            <a:prstGeom prst="rect">
              <a:avLst/>
            </a:prstGeom>
          </p:spPr>
        </p:pic>
        <p:pic>
          <p:nvPicPr>
            <p:cNvPr id="14" name="Picture 13">
              <a:extLst>
                <a:ext uri="{FF2B5EF4-FFF2-40B4-BE49-F238E27FC236}">
                  <a16:creationId xmlns:a16="http://schemas.microsoft.com/office/drawing/2014/main" id="{A0ED98BD-E095-4BBB-8D76-F61860BB6161}"/>
                </a:ext>
              </a:extLst>
            </p:cNvPr>
            <p:cNvPicPr>
              <a:picLocks noChangeAspect="1"/>
            </p:cNvPicPr>
            <p:nvPr/>
          </p:nvPicPr>
          <p:blipFill>
            <a:blip r:embed="rId11">
              <a:clrChange>
                <a:clrFrom>
                  <a:srgbClr val="FFFFFF"/>
                </a:clrFrom>
                <a:clrTo>
                  <a:srgbClr val="FFFFFF">
                    <a:alpha val="0"/>
                  </a:srgbClr>
                </a:clrTo>
              </a:clrChange>
            </a:blip>
            <a:stretch>
              <a:fillRect/>
            </a:stretch>
          </p:blipFill>
          <p:spPr>
            <a:xfrm>
              <a:off x="6713739" y="1070275"/>
              <a:ext cx="1310562" cy="1212967"/>
            </a:xfrm>
            <a:prstGeom prst="rect">
              <a:avLst/>
            </a:prstGeom>
          </p:spPr>
        </p:pic>
      </p:grpSp>
      <p:grpSp>
        <p:nvGrpSpPr>
          <p:cNvPr id="26" name="Group 25">
            <a:extLst>
              <a:ext uri="{FF2B5EF4-FFF2-40B4-BE49-F238E27FC236}">
                <a16:creationId xmlns:a16="http://schemas.microsoft.com/office/drawing/2014/main" id="{537BB773-3BC7-4216-9A86-81AE37A602ED}"/>
              </a:ext>
            </a:extLst>
          </p:cNvPr>
          <p:cNvGrpSpPr/>
          <p:nvPr/>
        </p:nvGrpSpPr>
        <p:grpSpPr>
          <a:xfrm>
            <a:off x="4580715" y="2789920"/>
            <a:ext cx="2875412" cy="2875412"/>
            <a:chOff x="4580715" y="2122382"/>
            <a:chExt cx="2875412" cy="2875412"/>
          </a:xfrm>
        </p:grpSpPr>
        <p:pic>
          <p:nvPicPr>
            <p:cNvPr id="7" name="Picture 6">
              <a:extLst>
                <a:ext uri="{FF2B5EF4-FFF2-40B4-BE49-F238E27FC236}">
                  <a16:creationId xmlns:a16="http://schemas.microsoft.com/office/drawing/2014/main" id="{D8465A25-E0DC-47B8-852C-2B9BA5120450}"/>
                </a:ext>
              </a:extLst>
            </p:cNvPr>
            <p:cNvPicPr>
              <a:picLocks noChangeAspect="1"/>
            </p:cNvPicPr>
            <p:nvPr/>
          </p:nvPicPr>
          <p:blipFill>
            <a:blip r:embed="rId12">
              <a:clrChange>
                <a:clrFrom>
                  <a:srgbClr val="FFFFFF"/>
                </a:clrFrom>
                <a:clrTo>
                  <a:srgbClr val="FFFFFF">
                    <a:alpha val="0"/>
                  </a:srgbClr>
                </a:clrTo>
              </a:clrChange>
            </a:blip>
            <a:stretch>
              <a:fillRect/>
            </a:stretch>
          </p:blipFill>
          <p:spPr>
            <a:xfrm>
              <a:off x="4763180" y="2302470"/>
              <a:ext cx="2665639" cy="2492546"/>
            </a:xfrm>
            <a:prstGeom prst="rect">
              <a:avLst/>
            </a:prstGeom>
          </p:spPr>
        </p:pic>
        <p:grpSp>
          <p:nvGrpSpPr>
            <p:cNvPr id="15" name="Group 10">
              <a:extLst>
                <a:ext uri="{FF2B5EF4-FFF2-40B4-BE49-F238E27FC236}">
                  <a16:creationId xmlns:a16="http://schemas.microsoft.com/office/drawing/2014/main" id="{E649E821-D58A-4139-852C-63B212BD1CCD}"/>
                </a:ext>
              </a:extLst>
            </p:cNvPr>
            <p:cNvGrpSpPr/>
            <p:nvPr/>
          </p:nvGrpSpPr>
          <p:grpSpPr>
            <a:xfrm rot="16200000">
              <a:off x="4580715" y="2122382"/>
              <a:ext cx="2875412" cy="2875412"/>
              <a:chOff x="57821" y="1441240"/>
              <a:chExt cx="4262520" cy="4262520"/>
            </a:xfrm>
          </p:grpSpPr>
          <p:grpSp>
            <p:nvGrpSpPr>
              <p:cNvPr id="16" name="Group 16">
                <a:extLst>
                  <a:ext uri="{FF2B5EF4-FFF2-40B4-BE49-F238E27FC236}">
                    <a16:creationId xmlns:a16="http://schemas.microsoft.com/office/drawing/2014/main" id="{E6AA6EDE-8334-4EAF-919C-8C82510168F4}"/>
                  </a:ext>
                </a:extLst>
              </p:cNvPr>
              <p:cNvGrpSpPr/>
              <p:nvPr userDrawn="1"/>
            </p:nvGrpSpPr>
            <p:grpSpPr>
              <a:xfrm>
                <a:off x="57821" y="1441240"/>
                <a:ext cx="4262520" cy="4262520"/>
                <a:chOff x="634127" y="2000307"/>
                <a:chExt cx="4262520" cy="4262520"/>
              </a:xfrm>
            </p:grpSpPr>
            <p:sp>
              <p:nvSpPr>
                <p:cNvPr id="22" name="Block Arc 49">
                  <a:extLst>
                    <a:ext uri="{FF2B5EF4-FFF2-40B4-BE49-F238E27FC236}">
                      <a16:creationId xmlns:a16="http://schemas.microsoft.com/office/drawing/2014/main" id="{E6858070-D903-4EA7-A976-3DF9965DB84F}"/>
                    </a:ext>
                  </a:extLst>
                </p:cNvPr>
                <p:cNvSpPr/>
                <p:nvPr userDrawn="1"/>
              </p:nvSpPr>
              <p:spPr>
                <a:xfrm rot="7200000">
                  <a:off x="634127" y="2000307"/>
                  <a:ext cx="4262520" cy="4262520"/>
                </a:xfrm>
                <a:prstGeom prst="blockArc">
                  <a:avLst>
                    <a:gd name="adj1" fmla="val 10800000"/>
                    <a:gd name="adj2" fmla="val 14451417"/>
                    <a:gd name="adj3" fmla="val 460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chemeClr val="tx1"/>
                    </a:solidFill>
                  </a:endParaRPr>
                </a:p>
              </p:txBody>
            </p:sp>
            <p:sp>
              <p:nvSpPr>
                <p:cNvPr id="23" name="Block Arc 50">
                  <a:extLst>
                    <a:ext uri="{FF2B5EF4-FFF2-40B4-BE49-F238E27FC236}">
                      <a16:creationId xmlns:a16="http://schemas.microsoft.com/office/drawing/2014/main" id="{3B3666DA-77B6-469C-AAAD-E035EF8647D8}"/>
                    </a:ext>
                  </a:extLst>
                </p:cNvPr>
                <p:cNvSpPr/>
                <p:nvPr userDrawn="1"/>
              </p:nvSpPr>
              <p:spPr>
                <a:xfrm rot="14400000">
                  <a:off x="634127" y="2000307"/>
                  <a:ext cx="4262520" cy="4262520"/>
                </a:xfrm>
                <a:prstGeom prst="blockArc">
                  <a:avLst>
                    <a:gd name="adj1" fmla="val 10800000"/>
                    <a:gd name="adj2" fmla="val 14451417"/>
                    <a:gd name="adj3" fmla="val 460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chemeClr val="tx1"/>
                    </a:solidFill>
                  </a:endParaRPr>
                </a:p>
              </p:txBody>
            </p:sp>
            <p:sp>
              <p:nvSpPr>
                <p:cNvPr id="24" name="Block Arc 51">
                  <a:extLst>
                    <a:ext uri="{FF2B5EF4-FFF2-40B4-BE49-F238E27FC236}">
                      <a16:creationId xmlns:a16="http://schemas.microsoft.com/office/drawing/2014/main" id="{49A04BB9-1662-4A7A-AEFD-74969BF98F14}"/>
                    </a:ext>
                  </a:extLst>
                </p:cNvPr>
                <p:cNvSpPr/>
                <p:nvPr userDrawn="1"/>
              </p:nvSpPr>
              <p:spPr>
                <a:xfrm rot="10800000">
                  <a:off x="634127" y="2000307"/>
                  <a:ext cx="4262520" cy="4262520"/>
                </a:xfrm>
                <a:prstGeom prst="blockArc">
                  <a:avLst>
                    <a:gd name="adj1" fmla="val 10800000"/>
                    <a:gd name="adj2" fmla="val 14451417"/>
                    <a:gd name="adj3" fmla="val 4608"/>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chemeClr val="tx1"/>
                    </a:solidFill>
                  </a:endParaRPr>
                </a:p>
              </p:txBody>
            </p:sp>
            <p:sp>
              <p:nvSpPr>
                <p:cNvPr id="25" name="Block Arc 52">
                  <a:extLst>
                    <a:ext uri="{FF2B5EF4-FFF2-40B4-BE49-F238E27FC236}">
                      <a16:creationId xmlns:a16="http://schemas.microsoft.com/office/drawing/2014/main" id="{5CF5F624-DFF3-4C38-B660-5339ACDB2D68}"/>
                    </a:ext>
                  </a:extLst>
                </p:cNvPr>
                <p:cNvSpPr/>
                <p:nvPr userDrawn="1"/>
              </p:nvSpPr>
              <p:spPr>
                <a:xfrm rot="3600000">
                  <a:off x="634127" y="2000307"/>
                  <a:ext cx="4262520" cy="4262520"/>
                </a:xfrm>
                <a:prstGeom prst="blockArc">
                  <a:avLst>
                    <a:gd name="adj1" fmla="val 10800000"/>
                    <a:gd name="adj2" fmla="val 14451417"/>
                    <a:gd name="adj3" fmla="val 4608"/>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chemeClr val="tx1"/>
                    </a:solidFill>
                  </a:endParaRPr>
                </a:p>
              </p:txBody>
            </p:sp>
          </p:grpSp>
          <p:sp>
            <p:nvSpPr>
              <p:cNvPr id="17" name="Oval 18">
                <a:extLst>
                  <a:ext uri="{FF2B5EF4-FFF2-40B4-BE49-F238E27FC236}">
                    <a16:creationId xmlns:a16="http://schemas.microsoft.com/office/drawing/2014/main" id="{145A4BAE-D955-425C-8652-24C89D374D6F}"/>
                  </a:ext>
                </a:extLst>
              </p:cNvPr>
              <p:cNvSpPr/>
              <p:nvPr/>
            </p:nvSpPr>
            <p:spPr>
              <a:xfrm rot="210143">
                <a:off x="3140041" y="1731940"/>
                <a:ext cx="190800" cy="190800"/>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18" name="Oval 19">
                <a:extLst>
                  <a:ext uri="{FF2B5EF4-FFF2-40B4-BE49-F238E27FC236}">
                    <a16:creationId xmlns:a16="http://schemas.microsoft.com/office/drawing/2014/main" id="{61980329-39BD-4DE5-BF63-A6FC6BA6E0A7}"/>
                  </a:ext>
                </a:extLst>
              </p:cNvPr>
              <p:cNvSpPr/>
              <p:nvPr/>
            </p:nvSpPr>
            <p:spPr>
              <a:xfrm rot="210143">
                <a:off x="1084975" y="1713528"/>
                <a:ext cx="190800" cy="190800"/>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19" name="Oval 20">
                <a:extLst>
                  <a:ext uri="{FF2B5EF4-FFF2-40B4-BE49-F238E27FC236}">
                    <a16:creationId xmlns:a16="http://schemas.microsoft.com/office/drawing/2014/main" id="{40B8F115-4086-4942-8175-C184A93848FE}"/>
                  </a:ext>
                </a:extLst>
              </p:cNvPr>
              <p:cNvSpPr/>
              <p:nvPr/>
            </p:nvSpPr>
            <p:spPr>
              <a:xfrm rot="210143">
                <a:off x="4123728" y="3456224"/>
                <a:ext cx="190800" cy="190800"/>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20" name="Oval 21">
                <a:extLst>
                  <a:ext uri="{FF2B5EF4-FFF2-40B4-BE49-F238E27FC236}">
                    <a16:creationId xmlns:a16="http://schemas.microsoft.com/office/drawing/2014/main" id="{17496273-DE76-4EB0-B7E4-2534058E2421}"/>
                  </a:ext>
                </a:extLst>
              </p:cNvPr>
              <p:cNvSpPr/>
              <p:nvPr/>
            </p:nvSpPr>
            <p:spPr>
              <a:xfrm rot="210143">
                <a:off x="3086058" y="5255169"/>
                <a:ext cx="190800" cy="19080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21" name="Oval 22">
                <a:extLst>
                  <a:ext uri="{FF2B5EF4-FFF2-40B4-BE49-F238E27FC236}">
                    <a16:creationId xmlns:a16="http://schemas.microsoft.com/office/drawing/2014/main" id="{6B5590FE-EB94-494C-BD17-04F20FE40F2A}"/>
                  </a:ext>
                </a:extLst>
              </p:cNvPr>
              <p:cNvSpPr/>
              <p:nvPr/>
            </p:nvSpPr>
            <p:spPr>
              <a:xfrm rot="210143">
                <a:off x="1062045" y="5223805"/>
                <a:ext cx="190800" cy="190800"/>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grpSp>
      </p:grpSp>
    </p:spTree>
    <p:extLst>
      <p:ext uri="{BB962C8B-B14F-4D97-AF65-F5344CB8AC3E}">
        <p14:creationId xmlns:p14="http://schemas.microsoft.com/office/powerpoint/2010/main" val="19419183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7"/>
                                        </p:tgtEl>
                                        <p:attrNameLst>
                                          <p:attrName>style.visibility</p:attrName>
                                        </p:attrNameLst>
                                      </p:cBhvr>
                                      <p:to>
                                        <p:strVal val="visible"/>
                                      </p:to>
                                    </p:set>
                                    <p:animEffect transition="in" filter="fade">
                                      <p:cBhvr>
                                        <p:cTn id="17"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ight Triangle 4">
            <a:extLst>
              <a:ext uri="{FF2B5EF4-FFF2-40B4-BE49-F238E27FC236}">
                <a16:creationId xmlns:a16="http://schemas.microsoft.com/office/drawing/2014/main" id="{0230B4A8-42BC-44F2-8424-DB025E09840C}"/>
              </a:ext>
            </a:extLst>
          </p:cNvPr>
          <p:cNvSpPr/>
          <p:nvPr/>
        </p:nvSpPr>
        <p:spPr>
          <a:xfrm flipH="1">
            <a:off x="4928838" y="0"/>
            <a:ext cx="7263161" cy="6857999"/>
          </a:xfrm>
          <a:prstGeom prst="rtTriangl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rapezoid 5">
            <a:extLst>
              <a:ext uri="{FF2B5EF4-FFF2-40B4-BE49-F238E27FC236}">
                <a16:creationId xmlns:a16="http://schemas.microsoft.com/office/drawing/2014/main" id="{362A30F9-E859-4834-8C11-58A839DCC689}"/>
              </a:ext>
            </a:extLst>
          </p:cNvPr>
          <p:cNvSpPr/>
          <p:nvPr/>
        </p:nvSpPr>
        <p:spPr>
          <a:xfrm>
            <a:off x="3999325" y="1"/>
            <a:ext cx="7824440" cy="6857999"/>
          </a:xfrm>
          <a:prstGeom prst="trapezoid">
            <a:avLst>
              <a:gd name="adj" fmla="val 64309"/>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Isosceles Triangle 7">
            <a:extLst>
              <a:ext uri="{FF2B5EF4-FFF2-40B4-BE49-F238E27FC236}">
                <a16:creationId xmlns:a16="http://schemas.microsoft.com/office/drawing/2014/main" id="{26ACC312-B3EF-4D95-836D-2893E512D694}"/>
              </a:ext>
            </a:extLst>
          </p:cNvPr>
          <p:cNvSpPr/>
          <p:nvPr/>
        </p:nvSpPr>
        <p:spPr>
          <a:xfrm flipV="1">
            <a:off x="7874000" y="-2"/>
            <a:ext cx="4317999" cy="2865864"/>
          </a:xfrm>
          <a:prstGeom prst="triangle">
            <a:avLst>
              <a:gd name="adj" fmla="val 37959"/>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8" name="Picture 3" descr="Image result for purdue krannert">
            <a:extLst>
              <a:ext uri="{FF2B5EF4-FFF2-40B4-BE49-F238E27FC236}">
                <a16:creationId xmlns:a16="http://schemas.microsoft.com/office/drawing/2014/main" id="{ECD533F9-050F-4BC6-B02D-575398D4DE7F}"/>
              </a:ext>
            </a:extLst>
          </p:cNvPr>
          <p:cNvPicPr>
            <a:picLocks noChangeAspect="1" noChangeArrowheads="1"/>
          </p:cNvPicPr>
          <p:nvPr/>
        </p:nvPicPr>
        <p:blipFill>
          <a:blip r:embed="rId2" cstate="hqprint">
            <a:extLst>
              <a:ext uri="{28A0092B-C50C-407E-A947-70E740481C1C}">
                <a14:useLocalDpi xmlns:a14="http://schemas.microsoft.com/office/drawing/2010/main" val="0"/>
              </a:ext>
            </a:extLst>
          </a:blip>
          <a:srcRect/>
          <a:stretch>
            <a:fillRect/>
          </a:stretch>
        </p:blipFill>
        <p:spPr bwMode="auto">
          <a:xfrm>
            <a:off x="10998011" y="6266638"/>
            <a:ext cx="1139559" cy="571555"/>
          </a:xfrm>
          <a:prstGeom prst="rect">
            <a:avLst/>
          </a:prstGeom>
          <a:noFill/>
          <a:extLst>
            <a:ext uri="{909E8E84-426E-40DD-AFC4-6F175D3DCCD1}">
              <a14:hiddenFill xmlns:a14="http://schemas.microsoft.com/office/drawing/2010/main">
                <a:solidFill>
                  <a:srgbClr val="FFFFFF"/>
                </a:solidFill>
              </a14:hiddenFill>
            </a:ext>
          </a:extLst>
        </p:spPr>
      </p:pic>
      <p:grpSp>
        <p:nvGrpSpPr>
          <p:cNvPr id="14" name="Group 13">
            <a:extLst>
              <a:ext uri="{FF2B5EF4-FFF2-40B4-BE49-F238E27FC236}">
                <a16:creationId xmlns:a16="http://schemas.microsoft.com/office/drawing/2014/main" id="{E4374CDC-4F0E-487F-8548-790DD8C4F8B9}"/>
              </a:ext>
            </a:extLst>
          </p:cNvPr>
          <p:cNvGrpSpPr/>
          <p:nvPr/>
        </p:nvGrpSpPr>
        <p:grpSpPr>
          <a:xfrm>
            <a:off x="3069771" y="1159187"/>
            <a:ext cx="7120923" cy="1820092"/>
            <a:chOff x="3069771" y="1159187"/>
            <a:chExt cx="7120923" cy="1820092"/>
          </a:xfrm>
        </p:grpSpPr>
        <p:pic>
          <p:nvPicPr>
            <p:cNvPr id="2" name="Picture 1">
              <a:extLst>
                <a:ext uri="{FF2B5EF4-FFF2-40B4-BE49-F238E27FC236}">
                  <a16:creationId xmlns:a16="http://schemas.microsoft.com/office/drawing/2014/main" id="{E752A37A-19B6-47D7-AA86-4101FDC76886}"/>
                </a:ext>
              </a:extLst>
            </p:cNvPr>
            <p:cNvPicPr>
              <a:picLocks noChangeAspect="1"/>
            </p:cNvPicPr>
            <p:nvPr/>
          </p:nvPicPr>
          <p:blipFill>
            <a:blip r:embed="rId3">
              <a:clrChange>
                <a:clrFrom>
                  <a:srgbClr val="FAFAFA"/>
                </a:clrFrom>
                <a:clrTo>
                  <a:srgbClr val="FAFAFA">
                    <a:alpha val="0"/>
                  </a:srgbClr>
                </a:clrTo>
              </a:clrChange>
              <a:duotone>
                <a:schemeClr val="accent5">
                  <a:shade val="45000"/>
                  <a:satMod val="135000"/>
                </a:schemeClr>
                <a:prstClr val="white"/>
              </a:duotone>
            </a:blip>
            <a:stretch>
              <a:fillRect/>
            </a:stretch>
          </p:blipFill>
          <p:spPr>
            <a:xfrm>
              <a:off x="3069771" y="1159187"/>
              <a:ext cx="1654629" cy="1820092"/>
            </a:xfrm>
            <a:prstGeom prst="rect">
              <a:avLst/>
            </a:prstGeom>
          </p:spPr>
        </p:pic>
        <p:sp>
          <p:nvSpPr>
            <p:cNvPr id="9" name="TextBox 8">
              <a:extLst>
                <a:ext uri="{FF2B5EF4-FFF2-40B4-BE49-F238E27FC236}">
                  <a16:creationId xmlns:a16="http://schemas.microsoft.com/office/drawing/2014/main" id="{EF7EC7F8-AB26-4B14-857F-DAC6BF23E579}"/>
                </a:ext>
              </a:extLst>
            </p:cNvPr>
            <p:cNvSpPr txBox="1"/>
            <p:nvPr/>
          </p:nvSpPr>
          <p:spPr>
            <a:xfrm>
              <a:off x="4724400" y="1869178"/>
              <a:ext cx="5466294" cy="400110"/>
            </a:xfrm>
            <a:prstGeom prst="rect">
              <a:avLst/>
            </a:prstGeom>
            <a:noFill/>
          </p:spPr>
          <p:txBody>
            <a:bodyPr wrap="square" rtlCol="0">
              <a:spAutoFit/>
            </a:bodyPr>
            <a:lstStyle/>
            <a:p>
              <a:pPr algn="just"/>
              <a:r>
                <a:rPr lang="en-US" sz="2000" b="1">
                  <a:solidFill>
                    <a:srgbClr val="002060"/>
                  </a:solidFill>
                  <a:latin typeface="Georgia" panose="02040502050405020303" pitchFamily="18" charset="0"/>
                </a:rPr>
                <a:t>PPG analysis conducted manually</a:t>
              </a:r>
            </a:p>
          </p:txBody>
        </p:sp>
      </p:grpSp>
      <p:grpSp>
        <p:nvGrpSpPr>
          <p:cNvPr id="15" name="Group 14">
            <a:extLst>
              <a:ext uri="{FF2B5EF4-FFF2-40B4-BE49-F238E27FC236}">
                <a16:creationId xmlns:a16="http://schemas.microsoft.com/office/drawing/2014/main" id="{5CAF130A-FD52-45A0-ACF0-7680F300C85A}"/>
              </a:ext>
            </a:extLst>
          </p:cNvPr>
          <p:cNvGrpSpPr/>
          <p:nvPr/>
        </p:nvGrpSpPr>
        <p:grpSpPr>
          <a:xfrm>
            <a:off x="6680187" y="3744430"/>
            <a:ext cx="3614519" cy="2088017"/>
            <a:chOff x="6680187" y="3744430"/>
            <a:chExt cx="3614519" cy="2088017"/>
          </a:xfrm>
        </p:grpSpPr>
        <p:sp>
          <p:nvSpPr>
            <p:cNvPr id="13" name="TextBox 12">
              <a:extLst>
                <a:ext uri="{FF2B5EF4-FFF2-40B4-BE49-F238E27FC236}">
                  <a16:creationId xmlns:a16="http://schemas.microsoft.com/office/drawing/2014/main" id="{15AE09FD-DD21-4036-A788-D5A10F70A7F7}"/>
                </a:ext>
              </a:extLst>
            </p:cNvPr>
            <p:cNvSpPr txBox="1"/>
            <p:nvPr/>
          </p:nvSpPr>
          <p:spPr>
            <a:xfrm>
              <a:off x="6680187" y="5432337"/>
              <a:ext cx="3614519" cy="400110"/>
            </a:xfrm>
            <a:prstGeom prst="rect">
              <a:avLst/>
            </a:prstGeom>
            <a:noFill/>
          </p:spPr>
          <p:txBody>
            <a:bodyPr wrap="square" rtlCol="0">
              <a:spAutoFit/>
            </a:bodyPr>
            <a:lstStyle/>
            <a:p>
              <a:r>
                <a:rPr lang="en-US" sz="2000" b="1">
                  <a:solidFill>
                    <a:srgbClr val="002060"/>
                  </a:solidFill>
                  <a:latin typeface="Georgia" panose="02040502050405020303" pitchFamily="18" charset="0"/>
                </a:rPr>
                <a:t>Lack of robust framework</a:t>
              </a:r>
            </a:p>
          </p:txBody>
        </p:sp>
        <p:pic>
          <p:nvPicPr>
            <p:cNvPr id="4" name="Picture 3">
              <a:extLst>
                <a:ext uri="{FF2B5EF4-FFF2-40B4-BE49-F238E27FC236}">
                  <a16:creationId xmlns:a16="http://schemas.microsoft.com/office/drawing/2014/main" id="{A921AD3C-16FA-4513-B91D-BF25704F1F5E}"/>
                </a:ext>
              </a:extLst>
            </p:cNvPr>
            <p:cNvPicPr>
              <a:picLocks noChangeAspect="1"/>
            </p:cNvPicPr>
            <p:nvPr/>
          </p:nvPicPr>
          <p:blipFill>
            <a:blip r:embed="rId4">
              <a:clrChange>
                <a:clrFrom>
                  <a:srgbClr val="FAFAFA"/>
                </a:clrFrom>
                <a:clrTo>
                  <a:srgbClr val="FAFAFA">
                    <a:alpha val="0"/>
                  </a:srgbClr>
                </a:clrTo>
              </a:clrChange>
              <a:duotone>
                <a:schemeClr val="accent5">
                  <a:shade val="45000"/>
                  <a:satMod val="135000"/>
                </a:schemeClr>
                <a:prstClr val="white"/>
              </a:duotone>
            </a:blip>
            <a:stretch>
              <a:fillRect/>
            </a:stretch>
          </p:blipFill>
          <p:spPr>
            <a:xfrm>
              <a:off x="7575419" y="3744430"/>
              <a:ext cx="1469714" cy="1687906"/>
            </a:xfrm>
            <a:prstGeom prst="rect">
              <a:avLst/>
            </a:prstGeom>
          </p:spPr>
        </p:pic>
        <p:pic>
          <p:nvPicPr>
            <p:cNvPr id="17" name="Picture 16">
              <a:extLst>
                <a:ext uri="{FF2B5EF4-FFF2-40B4-BE49-F238E27FC236}">
                  <a16:creationId xmlns:a16="http://schemas.microsoft.com/office/drawing/2014/main" id="{5675AB00-A326-4441-904B-B318823E208B}"/>
                </a:ext>
              </a:extLst>
            </p:cNvPr>
            <p:cNvPicPr>
              <a:picLocks noChangeAspect="1"/>
            </p:cNvPicPr>
            <p:nvPr/>
          </p:nvPicPr>
          <p:blipFill>
            <a:blip r:embed="rId5">
              <a:clrChange>
                <a:clrFrom>
                  <a:srgbClr val="FFFFFF"/>
                </a:clrFrom>
                <a:clrTo>
                  <a:srgbClr val="FFFFFF">
                    <a:alpha val="0"/>
                  </a:srgbClr>
                </a:clrTo>
              </a:clrChange>
              <a:duotone>
                <a:schemeClr val="accent2">
                  <a:shade val="45000"/>
                  <a:satMod val="135000"/>
                </a:schemeClr>
                <a:prstClr val="white"/>
              </a:duotone>
            </a:blip>
            <a:stretch>
              <a:fillRect/>
            </a:stretch>
          </p:blipFill>
          <p:spPr>
            <a:xfrm flipH="1">
              <a:off x="8439800" y="4542689"/>
              <a:ext cx="838201" cy="825536"/>
            </a:xfrm>
            <a:prstGeom prst="rect">
              <a:avLst/>
            </a:prstGeom>
          </p:spPr>
        </p:pic>
      </p:grpSp>
      <p:cxnSp>
        <p:nvCxnSpPr>
          <p:cNvPr id="23" name="Straight Connector 22">
            <a:extLst>
              <a:ext uri="{FF2B5EF4-FFF2-40B4-BE49-F238E27FC236}">
                <a16:creationId xmlns:a16="http://schemas.microsoft.com/office/drawing/2014/main" id="{7B202C42-C3CB-4990-B36D-7A8CDBC2163A}"/>
              </a:ext>
            </a:extLst>
          </p:cNvPr>
          <p:cNvCxnSpPr>
            <a:cxnSpLocks/>
          </p:cNvCxnSpPr>
          <p:nvPr/>
        </p:nvCxnSpPr>
        <p:spPr>
          <a:xfrm>
            <a:off x="5935887" y="2438400"/>
            <a:ext cx="0" cy="827314"/>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0859E29C-FECC-49FA-8FA7-D3C9482E2D38}"/>
              </a:ext>
            </a:extLst>
          </p:cNvPr>
          <p:cNvCxnSpPr/>
          <p:nvPr/>
        </p:nvCxnSpPr>
        <p:spPr>
          <a:xfrm>
            <a:off x="8327571" y="3265714"/>
            <a:ext cx="0" cy="413657"/>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B6BF8672-F5F5-423A-B764-F3FA992823B3}"/>
              </a:ext>
            </a:extLst>
          </p:cNvPr>
          <p:cNvCxnSpPr/>
          <p:nvPr/>
        </p:nvCxnSpPr>
        <p:spPr>
          <a:xfrm>
            <a:off x="3180544" y="3265714"/>
            <a:ext cx="0" cy="413657"/>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D16BBDC3-3AA8-40E3-A9B3-AB62F6E76FF5}"/>
              </a:ext>
            </a:extLst>
          </p:cNvPr>
          <p:cNvCxnSpPr>
            <a:cxnSpLocks/>
          </p:cNvCxnSpPr>
          <p:nvPr/>
        </p:nvCxnSpPr>
        <p:spPr>
          <a:xfrm>
            <a:off x="3180544" y="3265714"/>
            <a:ext cx="2755343"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BF6253A4-739A-4F0A-89D2-07B6050C1FD2}"/>
              </a:ext>
            </a:extLst>
          </p:cNvPr>
          <p:cNvSpPr txBox="1"/>
          <p:nvPr/>
        </p:nvSpPr>
        <p:spPr>
          <a:xfrm>
            <a:off x="233082" y="251012"/>
            <a:ext cx="10941978" cy="523220"/>
          </a:xfrm>
          <a:prstGeom prst="rect">
            <a:avLst/>
          </a:prstGeom>
          <a:noFill/>
        </p:spPr>
        <p:txBody>
          <a:bodyPr wrap="square" rtlCol="0">
            <a:spAutoFit/>
          </a:bodyPr>
          <a:lstStyle/>
          <a:p>
            <a:r>
              <a:rPr lang="en-US" sz="2800" b="1">
                <a:latin typeface="Georgia" panose="02040502050405020303" pitchFamily="18" charset="0"/>
              </a:rPr>
              <a:t>CURRENT SCENARIO</a:t>
            </a:r>
          </a:p>
        </p:txBody>
      </p:sp>
      <p:sp>
        <p:nvSpPr>
          <p:cNvPr id="20" name="Rectangle 19">
            <a:extLst>
              <a:ext uri="{FF2B5EF4-FFF2-40B4-BE49-F238E27FC236}">
                <a16:creationId xmlns:a16="http://schemas.microsoft.com/office/drawing/2014/main" id="{497B291B-5B85-4891-90A8-08172AB79740}"/>
              </a:ext>
            </a:extLst>
          </p:cNvPr>
          <p:cNvSpPr/>
          <p:nvPr/>
        </p:nvSpPr>
        <p:spPr>
          <a:xfrm>
            <a:off x="400050" y="6812280"/>
            <a:ext cx="11791579" cy="4572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a:t>
            </a:r>
          </a:p>
        </p:txBody>
      </p:sp>
      <p:pic>
        <p:nvPicPr>
          <p:cNvPr id="21" name="Graphic 20" descr="Toothpaste">
            <a:extLst>
              <a:ext uri="{FF2B5EF4-FFF2-40B4-BE49-F238E27FC236}">
                <a16:creationId xmlns:a16="http://schemas.microsoft.com/office/drawing/2014/main" id="{2BB3AA8C-8BE2-4138-A2C9-FE351FC7EDD7}"/>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6219692">
            <a:off x="-34366" y="6088478"/>
            <a:ext cx="598153" cy="598153"/>
          </a:xfrm>
          <a:prstGeom prst="rect">
            <a:avLst/>
          </a:prstGeom>
        </p:spPr>
      </p:pic>
      <p:pic>
        <p:nvPicPr>
          <p:cNvPr id="22" name="Graphic 21" descr="Snake">
            <a:extLst>
              <a:ext uri="{FF2B5EF4-FFF2-40B4-BE49-F238E27FC236}">
                <a16:creationId xmlns:a16="http://schemas.microsoft.com/office/drawing/2014/main" id="{8614742E-B0B0-43A7-A7BF-9FC073A9987E}"/>
              </a:ext>
            </a:extLst>
          </p:cNvPr>
          <p:cNvPicPr>
            <a:picLocks noChangeAspect="1"/>
          </p:cNvPicPr>
          <p:nvPr/>
        </p:nvPicPr>
        <p:blipFill rotWithShape="1">
          <a:blip r:embed="rId8" cstate="hq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l="-2" t="56027" r="47111"/>
          <a:stretch/>
        </p:blipFill>
        <p:spPr>
          <a:xfrm rot="7001259">
            <a:off x="297005" y="6680310"/>
            <a:ext cx="336423" cy="279713"/>
          </a:xfrm>
          <a:prstGeom prst="rect">
            <a:avLst/>
          </a:prstGeom>
        </p:spPr>
      </p:pic>
      <p:cxnSp>
        <p:nvCxnSpPr>
          <p:cNvPr id="18" name="Straight Connector 17">
            <a:extLst>
              <a:ext uri="{FF2B5EF4-FFF2-40B4-BE49-F238E27FC236}">
                <a16:creationId xmlns:a16="http://schemas.microsoft.com/office/drawing/2014/main" id="{49392D94-9420-4EBB-BEB1-8AB89C647AFC}"/>
              </a:ext>
            </a:extLst>
          </p:cNvPr>
          <p:cNvCxnSpPr/>
          <p:nvPr/>
        </p:nvCxnSpPr>
        <p:spPr>
          <a:xfrm>
            <a:off x="5935887" y="3265714"/>
            <a:ext cx="2391684" cy="0"/>
          </a:xfrm>
          <a:prstGeom prst="line">
            <a:avLst/>
          </a:prstGeom>
          <a:ln w="19050">
            <a:solidFill>
              <a:srgbClr val="2E6CA4"/>
            </a:solidFill>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05F952A7-B7DF-4C55-BBB0-32164B3FC79B}"/>
              </a:ext>
            </a:extLst>
          </p:cNvPr>
          <p:cNvGrpSpPr/>
          <p:nvPr/>
        </p:nvGrpSpPr>
        <p:grpSpPr>
          <a:xfrm>
            <a:off x="2128566" y="4029637"/>
            <a:ext cx="2153825" cy="1802810"/>
            <a:chOff x="2128566" y="4029637"/>
            <a:chExt cx="2153825" cy="1802810"/>
          </a:xfrm>
        </p:grpSpPr>
        <p:pic>
          <p:nvPicPr>
            <p:cNvPr id="7" name="Picture 6">
              <a:extLst>
                <a:ext uri="{FF2B5EF4-FFF2-40B4-BE49-F238E27FC236}">
                  <a16:creationId xmlns:a16="http://schemas.microsoft.com/office/drawing/2014/main" id="{FC9BF2A8-D0EE-49CF-8332-17DF6C1BC9D5}"/>
                </a:ext>
              </a:extLst>
            </p:cNvPr>
            <p:cNvPicPr>
              <a:picLocks noChangeAspect="1"/>
            </p:cNvPicPr>
            <p:nvPr/>
          </p:nvPicPr>
          <p:blipFill>
            <a:blip r:embed="rId10">
              <a:clrChange>
                <a:clrFrom>
                  <a:srgbClr val="FFFFFF"/>
                </a:clrFrom>
                <a:clrTo>
                  <a:srgbClr val="FFFFFF">
                    <a:alpha val="0"/>
                  </a:srgbClr>
                </a:clrTo>
              </a:clrChange>
              <a:duotone>
                <a:schemeClr val="accent1">
                  <a:shade val="45000"/>
                  <a:satMod val="135000"/>
                </a:schemeClr>
                <a:prstClr val="white"/>
              </a:duotone>
            </a:blip>
            <a:stretch>
              <a:fillRect/>
            </a:stretch>
          </p:blipFill>
          <p:spPr>
            <a:xfrm>
              <a:off x="2485277" y="4029637"/>
              <a:ext cx="1440404" cy="1229884"/>
            </a:xfrm>
            <a:prstGeom prst="rect">
              <a:avLst/>
            </a:prstGeom>
          </p:spPr>
        </p:pic>
        <p:sp>
          <p:nvSpPr>
            <p:cNvPr id="12" name="TextBox 11">
              <a:extLst>
                <a:ext uri="{FF2B5EF4-FFF2-40B4-BE49-F238E27FC236}">
                  <a16:creationId xmlns:a16="http://schemas.microsoft.com/office/drawing/2014/main" id="{9358E657-2033-40DF-AD02-8B23ADE94D09}"/>
                </a:ext>
              </a:extLst>
            </p:cNvPr>
            <p:cNvSpPr txBox="1"/>
            <p:nvPr/>
          </p:nvSpPr>
          <p:spPr>
            <a:xfrm>
              <a:off x="2128566" y="5432337"/>
              <a:ext cx="2153825" cy="400110"/>
            </a:xfrm>
            <a:prstGeom prst="rect">
              <a:avLst/>
            </a:prstGeom>
            <a:noFill/>
          </p:spPr>
          <p:txBody>
            <a:bodyPr wrap="square" rtlCol="0">
              <a:spAutoFit/>
            </a:bodyPr>
            <a:lstStyle/>
            <a:p>
              <a:pPr algn="just"/>
              <a:r>
                <a:rPr lang="en-US" sz="2000" b="1">
                  <a:solidFill>
                    <a:srgbClr val="002060"/>
                  </a:solidFill>
                  <a:latin typeface="Georgia" panose="02040502050405020303" pitchFamily="18" charset="0"/>
                </a:rPr>
                <a:t>Human errors</a:t>
              </a:r>
            </a:p>
          </p:txBody>
        </p:sp>
        <p:pic>
          <p:nvPicPr>
            <p:cNvPr id="29" name="Picture 28">
              <a:extLst>
                <a:ext uri="{FF2B5EF4-FFF2-40B4-BE49-F238E27FC236}">
                  <a16:creationId xmlns:a16="http://schemas.microsoft.com/office/drawing/2014/main" id="{5F372113-E444-4BF5-8FCB-106AD72B0332}"/>
                </a:ext>
              </a:extLst>
            </p:cNvPr>
            <p:cNvPicPr>
              <a:picLocks noChangeAspect="1"/>
            </p:cNvPicPr>
            <p:nvPr/>
          </p:nvPicPr>
          <p:blipFill>
            <a:blip r:embed="rId5">
              <a:clrChange>
                <a:clrFrom>
                  <a:srgbClr val="FFFFFF"/>
                </a:clrFrom>
                <a:clrTo>
                  <a:srgbClr val="FFFFFF">
                    <a:alpha val="0"/>
                  </a:srgbClr>
                </a:clrTo>
              </a:clrChange>
              <a:duotone>
                <a:schemeClr val="accent2">
                  <a:shade val="45000"/>
                  <a:satMod val="135000"/>
                </a:schemeClr>
                <a:prstClr val="white"/>
              </a:duotone>
            </a:blip>
            <a:stretch>
              <a:fillRect/>
            </a:stretch>
          </p:blipFill>
          <p:spPr>
            <a:xfrm flipH="1">
              <a:off x="3291918" y="4542689"/>
              <a:ext cx="838201" cy="825536"/>
            </a:xfrm>
            <a:prstGeom prst="rect">
              <a:avLst/>
            </a:prstGeom>
          </p:spPr>
        </p:pic>
      </p:grpSp>
    </p:spTree>
    <p:extLst>
      <p:ext uri="{BB962C8B-B14F-4D97-AF65-F5344CB8AC3E}">
        <p14:creationId xmlns:p14="http://schemas.microsoft.com/office/powerpoint/2010/main" val="17801654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1"/>
                                        </p:tgtEl>
                                        <p:attrNameLst>
                                          <p:attrName>style.visibility</p:attrName>
                                        </p:attrNameLst>
                                      </p:cBhvr>
                                      <p:to>
                                        <p:strVal val="visible"/>
                                      </p:to>
                                    </p:set>
                                    <p:animEffect transition="in" filter="fade">
                                      <p:cBhvr>
                                        <p:cTn id="12" dur="500"/>
                                        <p:tgtEl>
                                          <p:spTgt spid="41"/>
                                        </p:tgtEl>
                                      </p:cBhvr>
                                    </p:animEffect>
                                  </p:childTnLst>
                                </p:cTn>
                              </p:par>
                              <p:par>
                                <p:cTn id="13" presetID="10" presetClass="entr" presetSubtype="0" fill="hold" nodeType="withEffect">
                                  <p:stCondLst>
                                    <p:cond delay="0"/>
                                  </p:stCondLst>
                                  <p:childTnLst>
                                    <p:set>
                                      <p:cBhvr>
                                        <p:cTn id="14" dur="1" fill="hold">
                                          <p:stCondLst>
                                            <p:cond delay="0"/>
                                          </p:stCondLst>
                                        </p:cTn>
                                        <p:tgtEl>
                                          <p:spTgt spid="23"/>
                                        </p:tgtEl>
                                        <p:attrNameLst>
                                          <p:attrName>style.visibility</p:attrName>
                                        </p:attrNameLst>
                                      </p:cBhvr>
                                      <p:to>
                                        <p:strVal val="visible"/>
                                      </p:to>
                                    </p:set>
                                    <p:animEffect transition="in" filter="fade">
                                      <p:cBhvr>
                                        <p:cTn id="15" dur="500"/>
                                        <p:tgtEl>
                                          <p:spTgt spid="23"/>
                                        </p:tgtEl>
                                      </p:cBhvr>
                                    </p:animEffect>
                                  </p:childTnLst>
                                </p:cTn>
                              </p:par>
                              <p:par>
                                <p:cTn id="16" presetID="10" presetClass="entr" presetSubtype="0" fill="hold" nodeType="withEffect">
                                  <p:stCondLst>
                                    <p:cond delay="0"/>
                                  </p:stCondLst>
                                  <p:childTnLst>
                                    <p:set>
                                      <p:cBhvr>
                                        <p:cTn id="17" dur="1" fill="hold">
                                          <p:stCondLst>
                                            <p:cond delay="0"/>
                                          </p:stCondLst>
                                        </p:cTn>
                                        <p:tgtEl>
                                          <p:spTgt spid="34"/>
                                        </p:tgtEl>
                                        <p:attrNameLst>
                                          <p:attrName>style.visibility</p:attrName>
                                        </p:attrNameLst>
                                      </p:cBhvr>
                                      <p:to>
                                        <p:strVal val="visible"/>
                                      </p:to>
                                    </p:set>
                                    <p:animEffect transition="in" filter="fade">
                                      <p:cBhvr>
                                        <p:cTn id="18" dur="500"/>
                                        <p:tgtEl>
                                          <p:spTgt spid="34"/>
                                        </p:tgtEl>
                                      </p:cBhvr>
                                    </p:animEffect>
                                  </p:childTnLst>
                                </p:cTn>
                              </p:par>
                              <p:par>
                                <p:cTn id="19" presetID="10" presetClass="entr" presetSubtype="0" fill="hold" nodeType="withEffect">
                                  <p:stCondLst>
                                    <p:cond delay="0"/>
                                  </p:stCondLst>
                                  <p:childTnLst>
                                    <p:set>
                                      <p:cBhvr>
                                        <p:cTn id="20" dur="1" fill="hold">
                                          <p:stCondLst>
                                            <p:cond delay="0"/>
                                          </p:stCondLst>
                                        </p:cTn>
                                        <p:tgtEl>
                                          <p:spTgt spid="16"/>
                                        </p:tgtEl>
                                        <p:attrNameLst>
                                          <p:attrName>style.visibility</p:attrName>
                                        </p:attrNameLst>
                                      </p:cBhvr>
                                      <p:to>
                                        <p:strVal val="visible"/>
                                      </p:to>
                                    </p:set>
                                    <p:animEffect transition="in" filter="fade">
                                      <p:cBhvr>
                                        <p:cTn id="21" dur="500"/>
                                        <p:tgtEl>
                                          <p:spTgt spid="16"/>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18"/>
                                        </p:tgtEl>
                                        <p:attrNameLst>
                                          <p:attrName>style.visibility</p:attrName>
                                        </p:attrNameLst>
                                      </p:cBhvr>
                                      <p:to>
                                        <p:strVal val="visible"/>
                                      </p:to>
                                    </p:set>
                                    <p:animEffect transition="in" filter="fade">
                                      <p:cBhvr>
                                        <p:cTn id="26" dur="500"/>
                                        <p:tgtEl>
                                          <p:spTgt spid="18"/>
                                        </p:tgtEl>
                                      </p:cBhvr>
                                    </p:animEffect>
                                  </p:childTnLst>
                                </p:cTn>
                              </p:par>
                              <p:par>
                                <p:cTn id="27" presetID="10" presetClass="entr" presetSubtype="0" fill="hold" nodeType="withEffect">
                                  <p:stCondLst>
                                    <p:cond delay="0"/>
                                  </p:stCondLst>
                                  <p:childTnLst>
                                    <p:set>
                                      <p:cBhvr>
                                        <p:cTn id="28" dur="1" fill="hold">
                                          <p:stCondLst>
                                            <p:cond delay="0"/>
                                          </p:stCondLst>
                                        </p:cTn>
                                        <p:tgtEl>
                                          <p:spTgt spid="31"/>
                                        </p:tgtEl>
                                        <p:attrNameLst>
                                          <p:attrName>style.visibility</p:attrName>
                                        </p:attrNameLst>
                                      </p:cBhvr>
                                      <p:to>
                                        <p:strVal val="visible"/>
                                      </p:to>
                                    </p:set>
                                    <p:animEffect transition="in" filter="fade">
                                      <p:cBhvr>
                                        <p:cTn id="29" dur="500"/>
                                        <p:tgtEl>
                                          <p:spTgt spid="31"/>
                                        </p:tgtEl>
                                      </p:cBhvr>
                                    </p:animEffect>
                                  </p:childTnLst>
                                </p:cTn>
                              </p:par>
                              <p:par>
                                <p:cTn id="30" presetID="10" presetClass="entr" presetSubtype="0" fill="hold" nodeType="withEffect">
                                  <p:stCondLst>
                                    <p:cond delay="0"/>
                                  </p:stCondLst>
                                  <p:childTnLst>
                                    <p:set>
                                      <p:cBhvr>
                                        <p:cTn id="31" dur="1" fill="hold">
                                          <p:stCondLst>
                                            <p:cond delay="0"/>
                                          </p:stCondLst>
                                        </p:cTn>
                                        <p:tgtEl>
                                          <p:spTgt spid="15"/>
                                        </p:tgtEl>
                                        <p:attrNameLst>
                                          <p:attrName>style.visibility</p:attrName>
                                        </p:attrNameLst>
                                      </p:cBhvr>
                                      <p:to>
                                        <p:strVal val="visible"/>
                                      </p:to>
                                    </p:set>
                                    <p:animEffect transition="in" filter="fade">
                                      <p:cBhvr>
                                        <p:cTn id="32"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B4D80ED-4756-4041-A9D8-593328DF3775}"/>
              </a:ext>
            </a:extLst>
          </p:cNvPr>
          <p:cNvSpPr/>
          <p:nvPr/>
        </p:nvSpPr>
        <p:spPr>
          <a:xfrm>
            <a:off x="400050" y="6812280"/>
            <a:ext cx="11791579" cy="4572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a:t>
            </a:r>
          </a:p>
        </p:txBody>
      </p:sp>
      <p:pic>
        <p:nvPicPr>
          <p:cNvPr id="6" name="Graphic 5" descr="Toothpaste">
            <a:extLst>
              <a:ext uri="{FF2B5EF4-FFF2-40B4-BE49-F238E27FC236}">
                <a16:creationId xmlns:a16="http://schemas.microsoft.com/office/drawing/2014/main" id="{1B094808-C341-45B7-99B8-53363972F69D}"/>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6219692">
            <a:off x="-34366" y="6088478"/>
            <a:ext cx="598153" cy="598153"/>
          </a:xfrm>
          <a:prstGeom prst="rect">
            <a:avLst/>
          </a:prstGeom>
        </p:spPr>
      </p:pic>
      <p:pic>
        <p:nvPicPr>
          <p:cNvPr id="7" name="Graphic 6" descr="Snake">
            <a:extLst>
              <a:ext uri="{FF2B5EF4-FFF2-40B4-BE49-F238E27FC236}">
                <a16:creationId xmlns:a16="http://schemas.microsoft.com/office/drawing/2014/main" id="{38E4384D-A690-477D-B373-631655C14748}"/>
              </a:ext>
            </a:extLst>
          </p:cNvPr>
          <p:cNvPicPr>
            <a:picLocks noChangeAspect="1"/>
          </p:cNvPicPr>
          <p:nvPr/>
        </p:nvPicPr>
        <p:blipFill rotWithShape="1">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rcRect l="-2" t="56027" r="47111"/>
          <a:stretch/>
        </p:blipFill>
        <p:spPr>
          <a:xfrm rot="7001259">
            <a:off x="297005" y="6680310"/>
            <a:ext cx="336423" cy="279713"/>
          </a:xfrm>
          <a:prstGeom prst="rect">
            <a:avLst/>
          </a:prstGeom>
        </p:spPr>
      </p:pic>
      <p:grpSp>
        <p:nvGrpSpPr>
          <p:cNvPr id="8" name="Group 7">
            <a:extLst>
              <a:ext uri="{FF2B5EF4-FFF2-40B4-BE49-F238E27FC236}">
                <a16:creationId xmlns:a16="http://schemas.microsoft.com/office/drawing/2014/main" id="{29E33E33-BEB4-4489-8574-53BA978C663A}"/>
              </a:ext>
            </a:extLst>
          </p:cNvPr>
          <p:cNvGrpSpPr/>
          <p:nvPr/>
        </p:nvGrpSpPr>
        <p:grpSpPr>
          <a:xfrm>
            <a:off x="538479" y="1327062"/>
            <a:ext cx="4251628" cy="4203873"/>
            <a:chOff x="2829719" y="1994076"/>
            <a:chExt cx="3701454" cy="3659879"/>
          </a:xfrm>
        </p:grpSpPr>
        <p:sp>
          <p:nvSpPr>
            <p:cNvPr id="10" name="Donut 17">
              <a:extLst>
                <a:ext uri="{FF2B5EF4-FFF2-40B4-BE49-F238E27FC236}">
                  <a16:creationId xmlns:a16="http://schemas.microsoft.com/office/drawing/2014/main" id="{BD0CFF24-4D8F-4130-9DC4-8601A565C075}"/>
                </a:ext>
              </a:extLst>
            </p:cNvPr>
            <p:cNvSpPr/>
            <p:nvPr/>
          </p:nvSpPr>
          <p:spPr>
            <a:xfrm>
              <a:off x="3039183" y="2343701"/>
              <a:ext cx="3310254" cy="3310254"/>
            </a:xfrm>
            <a:prstGeom prst="donut">
              <a:avLst>
                <a:gd name="adj" fmla="val 10645"/>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solidFill>
                  <a:schemeClr val="tx1"/>
                </a:solidFill>
              </a:endParaRPr>
            </a:p>
          </p:txBody>
        </p:sp>
        <p:grpSp>
          <p:nvGrpSpPr>
            <p:cNvPr id="11" name="Group 10">
              <a:extLst>
                <a:ext uri="{FF2B5EF4-FFF2-40B4-BE49-F238E27FC236}">
                  <a16:creationId xmlns:a16="http://schemas.microsoft.com/office/drawing/2014/main" id="{747B9CEA-7210-43C9-9DB1-28729CDD51DF}"/>
                </a:ext>
              </a:extLst>
            </p:cNvPr>
            <p:cNvGrpSpPr/>
            <p:nvPr/>
          </p:nvGrpSpPr>
          <p:grpSpPr>
            <a:xfrm>
              <a:off x="2829719" y="1994076"/>
              <a:ext cx="3701454" cy="3402026"/>
              <a:chOff x="2829719" y="1899183"/>
              <a:chExt cx="3701454" cy="3402026"/>
            </a:xfrm>
          </p:grpSpPr>
          <p:sp>
            <p:nvSpPr>
              <p:cNvPr id="15" name="Freeform 6">
                <a:extLst>
                  <a:ext uri="{FF2B5EF4-FFF2-40B4-BE49-F238E27FC236}">
                    <a16:creationId xmlns:a16="http://schemas.microsoft.com/office/drawing/2014/main" id="{F851C712-9BA4-4007-8354-580B4CC23EE7}"/>
                  </a:ext>
                </a:extLst>
              </p:cNvPr>
              <p:cNvSpPr>
                <a:spLocks/>
              </p:cNvSpPr>
              <p:nvPr/>
            </p:nvSpPr>
            <p:spPr bwMode="auto">
              <a:xfrm>
                <a:off x="4696967" y="3728201"/>
                <a:ext cx="1834206" cy="1573008"/>
              </a:xfrm>
              <a:custGeom>
                <a:avLst/>
                <a:gdLst>
                  <a:gd name="T0" fmla="*/ 970 w 1201"/>
                  <a:gd name="T1" fmla="*/ 196 h 1030"/>
                  <a:gd name="T2" fmla="*/ 619 w 1201"/>
                  <a:gd name="T3" fmla="*/ 122 h 1030"/>
                  <a:gd name="T4" fmla="*/ 619 w 1201"/>
                  <a:gd name="T5" fmla="*/ 121 h 1030"/>
                  <a:gd name="T6" fmla="*/ 610 w 1201"/>
                  <a:gd name="T7" fmla="*/ 124 h 1030"/>
                  <a:gd name="T8" fmla="*/ 536 w 1201"/>
                  <a:gd name="T9" fmla="*/ 150 h 1030"/>
                  <a:gd name="T10" fmla="*/ 455 w 1201"/>
                  <a:gd name="T11" fmla="*/ 173 h 1030"/>
                  <a:gd name="T12" fmla="*/ 237 w 1201"/>
                  <a:gd name="T13" fmla="*/ 80 h 1030"/>
                  <a:gd name="T14" fmla="*/ 173 w 1201"/>
                  <a:gd name="T15" fmla="*/ 0 h 1030"/>
                  <a:gd name="T16" fmla="*/ 130 w 1201"/>
                  <a:gd name="T17" fmla="*/ 78 h 1030"/>
                  <a:gd name="T18" fmla="*/ 42 w 1201"/>
                  <a:gd name="T19" fmla="*/ 239 h 1030"/>
                  <a:gd name="T20" fmla="*/ 0 w 1201"/>
                  <a:gd name="T21" fmla="*/ 318 h 1030"/>
                  <a:gd name="T22" fmla="*/ 99 w 1201"/>
                  <a:gd name="T23" fmla="*/ 335 h 1030"/>
                  <a:gd name="T24" fmla="*/ 267 w 1201"/>
                  <a:gd name="T25" fmla="*/ 494 h 1030"/>
                  <a:gd name="T26" fmla="*/ 291 w 1201"/>
                  <a:gd name="T27" fmla="*/ 624 h 1030"/>
                  <a:gd name="T28" fmla="*/ 458 w 1201"/>
                  <a:gd name="T29" fmla="*/ 889 h 1030"/>
                  <a:gd name="T30" fmla="*/ 1060 w 1201"/>
                  <a:gd name="T31" fmla="*/ 798 h 1030"/>
                  <a:gd name="T32" fmla="*/ 970 w 1201"/>
                  <a:gd name="T33" fmla="*/ 196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01" h="1030">
                    <a:moveTo>
                      <a:pt x="970" y="196"/>
                    </a:moveTo>
                    <a:cubicBezTo>
                      <a:pt x="865" y="119"/>
                      <a:pt x="737" y="96"/>
                      <a:pt x="619" y="122"/>
                    </a:cubicBezTo>
                    <a:cubicBezTo>
                      <a:pt x="619" y="121"/>
                      <a:pt x="619" y="121"/>
                      <a:pt x="619" y="121"/>
                    </a:cubicBezTo>
                    <a:cubicBezTo>
                      <a:pt x="617" y="122"/>
                      <a:pt x="613" y="123"/>
                      <a:pt x="610" y="124"/>
                    </a:cubicBezTo>
                    <a:cubicBezTo>
                      <a:pt x="584" y="131"/>
                      <a:pt x="560" y="139"/>
                      <a:pt x="536" y="150"/>
                    </a:cubicBezTo>
                    <a:cubicBezTo>
                      <a:pt x="509" y="159"/>
                      <a:pt x="480" y="168"/>
                      <a:pt x="455" y="173"/>
                    </a:cubicBezTo>
                    <a:cubicBezTo>
                      <a:pt x="376" y="188"/>
                      <a:pt x="267" y="128"/>
                      <a:pt x="237" y="80"/>
                    </a:cubicBezTo>
                    <a:cubicBezTo>
                      <a:pt x="207" y="31"/>
                      <a:pt x="173" y="0"/>
                      <a:pt x="173" y="0"/>
                    </a:cubicBezTo>
                    <a:cubicBezTo>
                      <a:pt x="130" y="78"/>
                      <a:pt x="130" y="78"/>
                      <a:pt x="130" y="78"/>
                    </a:cubicBezTo>
                    <a:cubicBezTo>
                      <a:pt x="42" y="239"/>
                      <a:pt x="42" y="239"/>
                      <a:pt x="42" y="239"/>
                    </a:cubicBezTo>
                    <a:cubicBezTo>
                      <a:pt x="0" y="318"/>
                      <a:pt x="0" y="318"/>
                      <a:pt x="0" y="318"/>
                    </a:cubicBezTo>
                    <a:cubicBezTo>
                      <a:pt x="0" y="318"/>
                      <a:pt x="42" y="331"/>
                      <a:pt x="99" y="335"/>
                    </a:cubicBezTo>
                    <a:cubicBezTo>
                      <a:pt x="184" y="342"/>
                      <a:pt x="244" y="416"/>
                      <a:pt x="267" y="494"/>
                    </a:cubicBezTo>
                    <a:cubicBezTo>
                      <a:pt x="284" y="553"/>
                      <a:pt x="285" y="598"/>
                      <a:pt x="291" y="624"/>
                    </a:cubicBezTo>
                    <a:cubicBezTo>
                      <a:pt x="311" y="726"/>
                      <a:pt x="367" y="822"/>
                      <a:pt x="458" y="889"/>
                    </a:cubicBezTo>
                    <a:cubicBezTo>
                      <a:pt x="649" y="1030"/>
                      <a:pt x="919" y="990"/>
                      <a:pt x="1060" y="798"/>
                    </a:cubicBezTo>
                    <a:cubicBezTo>
                      <a:pt x="1201" y="607"/>
                      <a:pt x="1161" y="337"/>
                      <a:pt x="970" y="196"/>
                    </a:cubicBez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ko-KR" altLang="en-US" sz="2700"/>
              </a:p>
            </p:txBody>
          </p:sp>
          <p:sp>
            <p:nvSpPr>
              <p:cNvPr id="16" name="Freeform 6">
                <a:extLst>
                  <a:ext uri="{FF2B5EF4-FFF2-40B4-BE49-F238E27FC236}">
                    <a16:creationId xmlns:a16="http://schemas.microsoft.com/office/drawing/2014/main" id="{C58AA253-93AC-49CE-8DFA-636115210A1D}"/>
                  </a:ext>
                </a:extLst>
              </p:cNvPr>
              <p:cNvSpPr>
                <a:spLocks/>
              </p:cNvSpPr>
              <p:nvPr/>
            </p:nvSpPr>
            <p:spPr bwMode="auto">
              <a:xfrm rot="14400000">
                <a:off x="3858478" y="2029782"/>
                <a:ext cx="1834206" cy="1573008"/>
              </a:xfrm>
              <a:custGeom>
                <a:avLst/>
                <a:gdLst>
                  <a:gd name="T0" fmla="*/ 970 w 1201"/>
                  <a:gd name="T1" fmla="*/ 196 h 1030"/>
                  <a:gd name="T2" fmla="*/ 619 w 1201"/>
                  <a:gd name="T3" fmla="*/ 122 h 1030"/>
                  <a:gd name="T4" fmla="*/ 619 w 1201"/>
                  <a:gd name="T5" fmla="*/ 121 h 1030"/>
                  <a:gd name="T6" fmla="*/ 610 w 1201"/>
                  <a:gd name="T7" fmla="*/ 124 h 1030"/>
                  <a:gd name="T8" fmla="*/ 536 w 1201"/>
                  <a:gd name="T9" fmla="*/ 150 h 1030"/>
                  <a:gd name="T10" fmla="*/ 455 w 1201"/>
                  <a:gd name="T11" fmla="*/ 173 h 1030"/>
                  <a:gd name="T12" fmla="*/ 237 w 1201"/>
                  <a:gd name="T13" fmla="*/ 80 h 1030"/>
                  <a:gd name="T14" fmla="*/ 173 w 1201"/>
                  <a:gd name="T15" fmla="*/ 0 h 1030"/>
                  <a:gd name="T16" fmla="*/ 130 w 1201"/>
                  <a:gd name="T17" fmla="*/ 78 h 1030"/>
                  <a:gd name="T18" fmla="*/ 42 w 1201"/>
                  <a:gd name="T19" fmla="*/ 239 h 1030"/>
                  <a:gd name="T20" fmla="*/ 0 w 1201"/>
                  <a:gd name="T21" fmla="*/ 318 h 1030"/>
                  <a:gd name="T22" fmla="*/ 99 w 1201"/>
                  <a:gd name="T23" fmla="*/ 335 h 1030"/>
                  <a:gd name="T24" fmla="*/ 267 w 1201"/>
                  <a:gd name="T25" fmla="*/ 494 h 1030"/>
                  <a:gd name="T26" fmla="*/ 291 w 1201"/>
                  <a:gd name="T27" fmla="*/ 624 h 1030"/>
                  <a:gd name="T28" fmla="*/ 458 w 1201"/>
                  <a:gd name="T29" fmla="*/ 889 h 1030"/>
                  <a:gd name="T30" fmla="*/ 1060 w 1201"/>
                  <a:gd name="T31" fmla="*/ 798 h 1030"/>
                  <a:gd name="T32" fmla="*/ 970 w 1201"/>
                  <a:gd name="T33" fmla="*/ 196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01" h="1030">
                    <a:moveTo>
                      <a:pt x="970" y="196"/>
                    </a:moveTo>
                    <a:cubicBezTo>
                      <a:pt x="865" y="119"/>
                      <a:pt x="737" y="96"/>
                      <a:pt x="619" y="122"/>
                    </a:cubicBezTo>
                    <a:cubicBezTo>
                      <a:pt x="619" y="121"/>
                      <a:pt x="619" y="121"/>
                      <a:pt x="619" y="121"/>
                    </a:cubicBezTo>
                    <a:cubicBezTo>
                      <a:pt x="617" y="122"/>
                      <a:pt x="613" y="123"/>
                      <a:pt x="610" y="124"/>
                    </a:cubicBezTo>
                    <a:cubicBezTo>
                      <a:pt x="584" y="131"/>
                      <a:pt x="560" y="139"/>
                      <a:pt x="536" y="150"/>
                    </a:cubicBezTo>
                    <a:cubicBezTo>
                      <a:pt x="509" y="159"/>
                      <a:pt x="480" y="168"/>
                      <a:pt x="455" y="173"/>
                    </a:cubicBezTo>
                    <a:cubicBezTo>
                      <a:pt x="376" y="188"/>
                      <a:pt x="267" y="128"/>
                      <a:pt x="237" y="80"/>
                    </a:cubicBezTo>
                    <a:cubicBezTo>
                      <a:pt x="207" y="31"/>
                      <a:pt x="173" y="0"/>
                      <a:pt x="173" y="0"/>
                    </a:cubicBezTo>
                    <a:cubicBezTo>
                      <a:pt x="130" y="78"/>
                      <a:pt x="130" y="78"/>
                      <a:pt x="130" y="78"/>
                    </a:cubicBezTo>
                    <a:cubicBezTo>
                      <a:pt x="42" y="239"/>
                      <a:pt x="42" y="239"/>
                      <a:pt x="42" y="239"/>
                    </a:cubicBezTo>
                    <a:cubicBezTo>
                      <a:pt x="0" y="318"/>
                      <a:pt x="0" y="318"/>
                      <a:pt x="0" y="318"/>
                    </a:cubicBezTo>
                    <a:cubicBezTo>
                      <a:pt x="0" y="318"/>
                      <a:pt x="42" y="331"/>
                      <a:pt x="99" y="335"/>
                    </a:cubicBezTo>
                    <a:cubicBezTo>
                      <a:pt x="184" y="342"/>
                      <a:pt x="244" y="416"/>
                      <a:pt x="267" y="494"/>
                    </a:cubicBezTo>
                    <a:cubicBezTo>
                      <a:pt x="284" y="553"/>
                      <a:pt x="285" y="598"/>
                      <a:pt x="291" y="624"/>
                    </a:cubicBezTo>
                    <a:cubicBezTo>
                      <a:pt x="311" y="726"/>
                      <a:pt x="367" y="822"/>
                      <a:pt x="458" y="889"/>
                    </a:cubicBezTo>
                    <a:cubicBezTo>
                      <a:pt x="649" y="1030"/>
                      <a:pt x="919" y="990"/>
                      <a:pt x="1060" y="798"/>
                    </a:cubicBezTo>
                    <a:cubicBezTo>
                      <a:pt x="1201" y="607"/>
                      <a:pt x="1161" y="337"/>
                      <a:pt x="970" y="196"/>
                    </a:cubicBezTo>
                    <a:close/>
                  </a:path>
                </a:pathLst>
              </a:custGeom>
              <a:solidFill>
                <a:srgbClr val="002060"/>
              </a:solidFill>
              <a:ln>
                <a:noFill/>
              </a:ln>
            </p:spPr>
            <p:txBody>
              <a:bodyPr vert="horz" wrap="square" lIns="91440" tIns="45720" rIns="91440" bIns="45720" numCol="1" anchor="t" anchorCtr="0" compatLnSpc="1">
                <a:prstTxWarp prst="textNoShape">
                  <a:avLst/>
                </a:prstTxWarp>
              </a:bodyPr>
              <a:lstStyle/>
              <a:p>
                <a:endParaRPr lang="ko-KR" altLang="en-US" sz="2700"/>
              </a:p>
            </p:txBody>
          </p:sp>
          <p:sp>
            <p:nvSpPr>
              <p:cNvPr id="17" name="Freeform 6">
                <a:extLst>
                  <a:ext uri="{FF2B5EF4-FFF2-40B4-BE49-F238E27FC236}">
                    <a16:creationId xmlns:a16="http://schemas.microsoft.com/office/drawing/2014/main" id="{A3900593-9CB1-4DAE-8734-B95B135B92E8}"/>
                  </a:ext>
                </a:extLst>
              </p:cNvPr>
              <p:cNvSpPr>
                <a:spLocks/>
              </p:cNvSpPr>
              <p:nvPr/>
            </p:nvSpPr>
            <p:spPr bwMode="auto">
              <a:xfrm flipH="1">
                <a:off x="2829719" y="3728201"/>
                <a:ext cx="1880593" cy="1573008"/>
              </a:xfrm>
              <a:custGeom>
                <a:avLst/>
                <a:gdLst>
                  <a:gd name="T0" fmla="*/ 970 w 1201"/>
                  <a:gd name="T1" fmla="*/ 196 h 1030"/>
                  <a:gd name="T2" fmla="*/ 619 w 1201"/>
                  <a:gd name="T3" fmla="*/ 122 h 1030"/>
                  <a:gd name="T4" fmla="*/ 619 w 1201"/>
                  <a:gd name="T5" fmla="*/ 121 h 1030"/>
                  <a:gd name="T6" fmla="*/ 610 w 1201"/>
                  <a:gd name="T7" fmla="*/ 124 h 1030"/>
                  <a:gd name="T8" fmla="*/ 536 w 1201"/>
                  <a:gd name="T9" fmla="*/ 150 h 1030"/>
                  <a:gd name="T10" fmla="*/ 455 w 1201"/>
                  <a:gd name="T11" fmla="*/ 173 h 1030"/>
                  <a:gd name="T12" fmla="*/ 237 w 1201"/>
                  <a:gd name="T13" fmla="*/ 80 h 1030"/>
                  <a:gd name="T14" fmla="*/ 173 w 1201"/>
                  <a:gd name="T15" fmla="*/ 0 h 1030"/>
                  <a:gd name="T16" fmla="*/ 130 w 1201"/>
                  <a:gd name="T17" fmla="*/ 78 h 1030"/>
                  <a:gd name="T18" fmla="*/ 42 w 1201"/>
                  <a:gd name="T19" fmla="*/ 239 h 1030"/>
                  <a:gd name="T20" fmla="*/ 0 w 1201"/>
                  <a:gd name="T21" fmla="*/ 318 h 1030"/>
                  <a:gd name="T22" fmla="*/ 99 w 1201"/>
                  <a:gd name="T23" fmla="*/ 335 h 1030"/>
                  <a:gd name="T24" fmla="*/ 267 w 1201"/>
                  <a:gd name="T25" fmla="*/ 494 h 1030"/>
                  <a:gd name="T26" fmla="*/ 291 w 1201"/>
                  <a:gd name="T27" fmla="*/ 624 h 1030"/>
                  <a:gd name="T28" fmla="*/ 458 w 1201"/>
                  <a:gd name="T29" fmla="*/ 889 h 1030"/>
                  <a:gd name="T30" fmla="*/ 1060 w 1201"/>
                  <a:gd name="T31" fmla="*/ 798 h 1030"/>
                  <a:gd name="T32" fmla="*/ 970 w 1201"/>
                  <a:gd name="T33" fmla="*/ 196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01" h="1030">
                    <a:moveTo>
                      <a:pt x="970" y="196"/>
                    </a:moveTo>
                    <a:cubicBezTo>
                      <a:pt x="865" y="119"/>
                      <a:pt x="737" y="96"/>
                      <a:pt x="619" y="122"/>
                    </a:cubicBezTo>
                    <a:cubicBezTo>
                      <a:pt x="619" y="121"/>
                      <a:pt x="619" y="121"/>
                      <a:pt x="619" y="121"/>
                    </a:cubicBezTo>
                    <a:cubicBezTo>
                      <a:pt x="617" y="122"/>
                      <a:pt x="613" y="123"/>
                      <a:pt x="610" y="124"/>
                    </a:cubicBezTo>
                    <a:cubicBezTo>
                      <a:pt x="584" y="131"/>
                      <a:pt x="560" y="139"/>
                      <a:pt x="536" y="150"/>
                    </a:cubicBezTo>
                    <a:cubicBezTo>
                      <a:pt x="509" y="159"/>
                      <a:pt x="480" y="168"/>
                      <a:pt x="455" y="173"/>
                    </a:cubicBezTo>
                    <a:cubicBezTo>
                      <a:pt x="376" y="188"/>
                      <a:pt x="267" y="128"/>
                      <a:pt x="237" y="80"/>
                    </a:cubicBezTo>
                    <a:cubicBezTo>
                      <a:pt x="207" y="31"/>
                      <a:pt x="173" y="0"/>
                      <a:pt x="173" y="0"/>
                    </a:cubicBezTo>
                    <a:cubicBezTo>
                      <a:pt x="130" y="78"/>
                      <a:pt x="130" y="78"/>
                      <a:pt x="130" y="78"/>
                    </a:cubicBezTo>
                    <a:cubicBezTo>
                      <a:pt x="42" y="239"/>
                      <a:pt x="42" y="239"/>
                      <a:pt x="42" y="239"/>
                    </a:cubicBezTo>
                    <a:cubicBezTo>
                      <a:pt x="0" y="318"/>
                      <a:pt x="0" y="318"/>
                      <a:pt x="0" y="318"/>
                    </a:cubicBezTo>
                    <a:cubicBezTo>
                      <a:pt x="0" y="318"/>
                      <a:pt x="42" y="331"/>
                      <a:pt x="99" y="335"/>
                    </a:cubicBezTo>
                    <a:cubicBezTo>
                      <a:pt x="184" y="342"/>
                      <a:pt x="244" y="416"/>
                      <a:pt x="267" y="494"/>
                    </a:cubicBezTo>
                    <a:cubicBezTo>
                      <a:pt x="284" y="553"/>
                      <a:pt x="285" y="598"/>
                      <a:pt x="291" y="624"/>
                    </a:cubicBezTo>
                    <a:cubicBezTo>
                      <a:pt x="311" y="726"/>
                      <a:pt x="367" y="822"/>
                      <a:pt x="458" y="889"/>
                    </a:cubicBezTo>
                    <a:cubicBezTo>
                      <a:pt x="649" y="1030"/>
                      <a:pt x="919" y="990"/>
                      <a:pt x="1060" y="798"/>
                    </a:cubicBezTo>
                    <a:cubicBezTo>
                      <a:pt x="1201" y="607"/>
                      <a:pt x="1161" y="337"/>
                      <a:pt x="970" y="196"/>
                    </a:cubicBezTo>
                    <a:close/>
                  </a:path>
                </a:pathLst>
              </a:custGeom>
              <a:solidFill>
                <a:srgbClr val="7792C2"/>
              </a:solidFill>
              <a:ln>
                <a:noFill/>
              </a:ln>
            </p:spPr>
            <p:txBody>
              <a:bodyPr vert="horz" wrap="square" lIns="91440" tIns="45720" rIns="91440" bIns="45720" numCol="1" anchor="t" anchorCtr="0" compatLnSpc="1">
                <a:prstTxWarp prst="textNoShape">
                  <a:avLst/>
                </a:prstTxWarp>
              </a:bodyPr>
              <a:lstStyle/>
              <a:p>
                <a:endParaRPr lang="ko-KR" altLang="en-US" sz="2700"/>
              </a:p>
            </p:txBody>
          </p:sp>
          <p:sp>
            <p:nvSpPr>
              <p:cNvPr id="18" name="Oval 17">
                <a:extLst>
                  <a:ext uri="{FF2B5EF4-FFF2-40B4-BE49-F238E27FC236}">
                    <a16:creationId xmlns:a16="http://schemas.microsoft.com/office/drawing/2014/main" id="{175F6B14-EE73-4B9A-9D30-95364E5B0D86}"/>
                  </a:ext>
                </a:extLst>
              </p:cNvPr>
              <p:cNvSpPr/>
              <p:nvPr/>
            </p:nvSpPr>
            <p:spPr>
              <a:xfrm>
                <a:off x="4169785" y="2093822"/>
                <a:ext cx="1100104" cy="1100104"/>
              </a:xfrm>
              <a:prstGeom prst="ellipse">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800">
                  <a:solidFill>
                    <a:schemeClr val="tx1">
                      <a:lumMod val="65000"/>
                      <a:lumOff val="35000"/>
                    </a:schemeClr>
                  </a:solidFill>
                </a:endParaRPr>
              </a:p>
            </p:txBody>
          </p:sp>
          <p:sp>
            <p:nvSpPr>
              <p:cNvPr id="19" name="Oval 18">
                <a:extLst>
                  <a:ext uri="{FF2B5EF4-FFF2-40B4-BE49-F238E27FC236}">
                    <a16:creationId xmlns:a16="http://schemas.microsoft.com/office/drawing/2014/main" id="{28A393AD-78C8-4C06-B842-B042EDF9F06C}"/>
                  </a:ext>
                </a:extLst>
              </p:cNvPr>
              <p:cNvSpPr/>
              <p:nvPr/>
            </p:nvSpPr>
            <p:spPr>
              <a:xfrm>
                <a:off x="5231789" y="4003773"/>
                <a:ext cx="1100104" cy="1100104"/>
              </a:xfrm>
              <a:prstGeom prst="ellipse">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800">
                  <a:solidFill>
                    <a:schemeClr val="tx1">
                      <a:lumMod val="65000"/>
                      <a:lumOff val="35000"/>
                    </a:schemeClr>
                  </a:solidFill>
                </a:endParaRPr>
              </a:p>
            </p:txBody>
          </p:sp>
          <p:sp>
            <p:nvSpPr>
              <p:cNvPr id="20" name="Oval 19">
                <a:extLst>
                  <a:ext uri="{FF2B5EF4-FFF2-40B4-BE49-F238E27FC236}">
                    <a16:creationId xmlns:a16="http://schemas.microsoft.com/office/drawing/2014/main" id="{A7E82F90-377A-41F1-8D29-FC8BCE28B8BF}"/>
                  </a:ext>
                </a:extLst>
              </p:cNvPr>
              <p:cNvSpPr/>
              <p:nvPr/>
            </p:nvSpPr>
            <p:spPr>
              <a:xfrm>
                <a:off x="3030323" y="4013298"/>
                <a:ext cx="1100104" cy="1100104"/>
              </a:xfrm>
              <a:prstGeom prst="ellipse">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800">
                  <a:solidFill>
                    <a:schemeClr val="tx1">
                      <a:lumMod val="65000"/>
                      <a:lumOff val="35000"/>
                    </a:schemeClr>
                  </a:solidFill>
                </a:endParaRPr>
              </a:p>
            </p:txBody>
          </p:sp>
          <p:sp>
            <p:nvSpPr>
              <p:cNvPr id="21" name="Oval 20">
                <a:extLst>
                  <a:ext uri="{FF2B5EF4-FFF2-40B4-BE49-F238E27FC236}">
                    <a16:creationId xmlns:a16="http://schemas.microsoft.com/office/drawing/2014/main" id="{00F6E048-30FB-4AC0-96C4-0ABB4F17607E}"/>
                  </a:ext>
                </a:extLst>
              </p:cNvPr>
              <p:cNvSpPr/>
              <p:nvPr/>
            </p:nvSpPr>
            <p:spPr>
              <a:xfrm>
                <a:off x="4379537" y="3558158"/>
                <a:ext cx="649663" cy="649663"/>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22" name="Oval 21">
                <a:extLst>
                  <a:ext uri="{FF2B5EF4-FFF2-40B4-BE49-F238E27FC236}">
                    <a16:creationId xmlns:a16="http://schemas.microsoft.com/office/drawing/2014/main" id="{6A0808D6-880F-42E6-B3DF-318324AB0A0F}"/>
                  </a:ext>
                </a:extLst>
              </p:cNvPr>
              <p:cNvSpPr/>
              <p:nvPr/>
            </p:nvSpPr>
            <p:spPr>
              <a:xfrm>
                <a:off x="4425717" y="3609056"/>
                <a:ext cx="548372" cy="548372"/>
              </a:xfrm>
              <a:prstGeom prst="ellipse">
                <a:avLst/>
              </a:prstGeom>
              <a:gradFill flip="none" rotWithShape="1">
                <a:gsLst>
                  <a:gs pos="0">
                    <a:schemeClr val="bg1">
                      <a:lumMod val="87000"/>
                    </a:schemeClr>
                  </a:gs>
                  <a:gs pos="100000">
                    <a:schemeClr val="bg1"/>
                  </a:gs>
                </a:gsLst>
                <a:lin ang="8100000" scaled="1"/>
                <a:tileRect/>
              </a:gra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800">
                  <a:solidFill>
                    <a:schemeClr val="tx1">
                      <a:lumMod val="65000"/>
                      <a:lumOff val="35000"/>
                    </a:schemeClr>
                  </a:solidFill>
                </a:endParaRPr>
              </a:p>
            </p:txBody>
          </p:sp>
        </p:grpSp>
        <p:sp>
          <p:nvSpPr>
            <p:cNvPr id="12" name="Arc 11">
              <a:extLst>
                <a:ext uri="{FF2B5EF4-FFF2-40B4-BE49-F238E27FC236}">
                  <a16:creationId xmlns:a16="http://schemas.microsoft.com/office/drawing/2014/main" id="{110B440D-B467-4385-A8A5-F2D954BDC4A1}"/>
                </a:ext>
              </a:extLst>
            </p:cNvPr>
            <p:cNvSpPr/>
            <p:nvPr/>
          </p:nvSpPr>
          <p:spPr>
            <a:xfrm>
              <a:off x="3273733" y="2536329"/>
              <a:ext cx="2901493" cy="2901493"/>
            </a:xfrm>
            <a:prstGeom prst="arc">
              <a:avLst>
                <a:gd name="adj1" fmla="val 18179519"/>
                <a:gd name="adj2" fmla="val 21517766"/>
              </a:avLst>
            </a:prstGeom>
            <a:ln w="25400">
              <a:solidFill>
                <a:schemeClr val="bg1"/>
              </a:solidFill>
              <a:prstDash val="dash"/>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ko-KR" altLang="en-US" sz="2700"/>
            </a:p>
          </p:txBody>
        </p:sp>
        <p:sp>
          <p:nvSpPr>
            <p:cNvPr id="13" name="Arc 12">
              <a:extLst>
                <a:ext uri="{FF2B5EF4-FFF2-40B4-BE49-F238E27FC236}">
                  <a16:creationId xmlns:a16="http://schemas.microsoft.com/office/drawing/2014/main" id="{9C4E5CA5-C380-4D60-8BD7-CA68BB39B9DE}"/>
                </a:ext>
              </a:extLst>
            </p:cNvPr>
            <p:cNvSpPr/>
            <p:nvPr/>
          </p:nvSpPr>
          <p:spPr>
            <a:xfrm rot="14360900">
              <a:off x="3205931" y="2590242"/>
              <a:ext cx="2901493" cy="2901493"/>
            </a:xfrm>
            <a:prstGeom prst="arc">
              <a:avLst>
                <a:gd name="adj1" fmla="val 18179519"/>
                <a:gd name="adj2" fmla="val 21517766"/>
              </a:avLst>
            </a:prstGeom>
            <a:ln w="25400">
              <a:solidFill>
                <a:schemeClr val="bg1"/>
              </a:solidFill>
              <a:prstDash val="dash"/>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ko-KR" altLang="en-US" sz="2700"/>
            </a:p>
          </p:txBody>
        </p:sp>
        <p:sp>
          <p:nvSpPr>
            <p:cNvPr id="14" name="Arc 13">
              <a:extLst>
                <a:ext uri="{FF2B5EF4-FFF2-40B4-BE49-F238E27FC236}">
                  <a16:creationId xmlns:a16="http://schemas.microsoft.com/office/drawing/2014/main" id="{5F7BC44D-0A38-479B-88F1-119EC819819B}"/>
                </a:ext>
              </a:extLst>
            </p:cNvPr>
            <p:cNvSpPr/>
            <p:nvPr/>
          </p:nvSpPr>
          <p:spPr>
            <a:xfrm rot="7097419">
              <a:off x="3263081" y="2590242"/>
              <a:ext cx="2901493" cy="2901493"/>
            </a:xfrm>
            <a:prstGeom prst="arc">
              <a:avLst>
                <a:gd name="adj1" fmla="val 18179519"/>
                <a:gd name="adj2" fmla="val 21517766"/>
              </a:avLst>
            </a:prstGeom>
            <a:ln w="25400">
              <a:solidFill>
                <a:schemeClr val="bg1"/>
              </a:solidFill>
              <a:prstDash val="dash"/>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ko-KR" altLang="en-US" sz="2700"/>
            </a:p>
          </p:txBody>
        </p:sp>
      </p:grpSp>
      <p:sp>
        <p:nvSpPr>
          <p:cNvPr id="23" name="TextBox 22">
            <a:extLst>
              <a:ext uri="{FF2B5EF4-FFF2-40B4-BE49-F238E27FC236}">
                <a16:creationId xmlns:a16="http://schemas.microsoft.com/office/drawing/2014/main" id="{6B45EF6D-12B8-4AA4-8186-6387A540AE6B}"/>
              </a:ext>
            </a:extLst>
          </p:cNvPr>
          <p:cNvSpPr txBox="1"/>
          <p:nvPr/>
        </p:nvSpPr>
        <p:spPr>
          <a:xfrm>
            <a:off x="6424887" y="3029629"/>
            <a:ext cx="5281385" cy="1200329"/>
          </a:xfrm>
          <a:prstGeom prst="rect">
            <a:avLst/>
          </a:prstGeom>
          <a:noFill/>
        </p:spPr>
        <p:txBody>
          <a:bodyPr wrap="square" rtlCol="0">
            <a:spAutoFit/>
          </a:bodyPr>
          <a:lstStyle/>
          <a:p>
            <a:pPr algn="just"/>
            <a:r>
              <a:rPr lang="en-US" sz="2400" b="1">
                <a:solidFill>
                  <a:srgbClr val="002060"/>
                </a:solidFill>
                <a:latin typeface="Book Antiqua" panose="02040602050305030304" pitchFamily="18" charset="0"/>
              </a:rPr>
              <a:t>Forming optimal PPG bundles that boost sales and provide decision support to the business</a:t>
            </a:r>
          </a:p>
        </p:txBody>
      </p:sp>
      <p:sp>
        <p:nvSpPr>
          <p:cNvPr id="24" name="TextBox 23">
            <a:extLst>
              <a:ext uri="{FF2B5EF4-FFF2-40B4-BE49-F238E27FC236}">
                <a16:creationId xmlns:a16="http://schemas.microsoft.com/office/drawing/2014/main" id="{0419B8BF-5B78-49F3-ACCE-27E7AD5ED205}"/>
              </a:ext>
            </a:extLst>
          </p:cNvPr>
          <p:cNvSpPr txBox="1"/>
          <p:nvPr/>
        </p:nvSpPr>
        <p:spPr>
          <a:xfrm>
            <a:off x="233082" y="251012"/>
            <a:ext cx="10941978" cy="523220"/>
          </a:xfrm>
          <a:prstGeom prst="rect">
            <a:avLst/>
          </a:prstGeom>
          <a:noFill/>
        </p:spPr>
        <p:txBody>
          <a:bodyPr wrap="square" rtlCol="0">
            <a:spAutoFit/>
          </a:bodyPr>
          <a:lstStyle/>
          <a:p>
            <a:r>
              <a:rPr lang="en-US" sz="2800" b="1">
                <a:latin typeface="Georgia" panose="02040502050405020303" pitchFamily="18" charset="0"/>
              </a:rPr>
              <a:t>OUR SOLUTION</a:t>
            </a:r>
          </a:p>
        </p:txBody>
      </p:sp>
      <p:pic>
        <p:nvPicPr>
          <p:cNvPr id="25" name="Picture 24">
            <a:extLst>
              <a:ext uri="{FF2B5EF4-FFF2-40B4-BE49-F238E27FC236}">
                <a16:creationId xmlns:a16="http://schemas.microsoft.com/office/drawing/2014/main" id="{E73CE490-0B2B-4642-A7E5-C0A192A6EB3B}"/>
              </a:ext>
            </a:extLst>
          </p:cNvPr>
          <p:cNvPicPr>
            <a:picLocks noChangeAspect="1"/>
          </p:cNvPicPr>
          <p:nvPr/>
        </p:nvPicPr>
        <p:blipFill>
          <a:blip r:embed="rId6">
            <a:clrChange>
              <a:clrFrom>
                <a:srgbClr val="FFFFFF"/>
              </a:clrFrom>
              <a:clrTo>
                <a:srgbClr val="FFFFFF">
                  <a:alpha val="0"/>
                </a:srgbClr>
              </a:clrTo>
            </a:clrChange>
            <a:duotone>
              <a:schemeClr val="accent5">
                <a:shade val="45000"/>
                <a:satMod val="135000"/>
              </a:schemeClr>
              <a:prstClr val="white"/>
            </a:duotone>
          </a:blip>
          <a:stretch>
            <a:fillRect/>
          </a:stretch>
        </p:blipFill>
        <p:spPr>
          <a:xfrm>
            <a:off x="2304162" y="1764943"/>
            <a:ext cx="807124" cy="805136"/>
          </a:xfrm>
          <a:prstGeom prst="rect">
            <a:avLst/>
          </a:prstGeom>
        </p:spPr>
      </p:pic>
      <p:pic>
        <p:nvPicPr>
          <p:cNvPr id="26" name="Picture 25">
            <a:extLst>
              <a:ext uri="{FF2B5EF4-FFF2-40B4-BE49-F238E27FC236}">
                <a16:creationId xmlns:a16="http://schemas.microsoft.com/office/drawing/2014/main" id="{B11D7BFD-0CF4-41F3-9085-ECE90DCC4C91}"/>
              </a:ext>
            </a:extLst>
          </p:cNvPr>
          <p:cNvPicPr>
            <a:picLocks noChangeAspect="1"/>
          </p:cNvPicPr>
          <p:nvPr/>
        </p:nvPicPr>
        <p:blipFill>
          <a:blip r:embed="rId7">
            <a:clrChange>
              <a:clrFrom>
                <a:srgbClr val="FFFFFF"/>
              </a:clrFrom>
              <a:clrTo>
                <a:srgbClr val="FFFFFF">
                  <a:alpha val="0"/>
                </a:srgbClr>
              </a:clrTo>
            </a:clrChange>
          </a:blip>
          <a:stretch>
            <a:fillRect/>
          </a:stretch>
        </p:blipFill>
        <p:spPr>
          <a:xfrm>
            <a:off x="868130" y="3939791"/>
            <a:ext cx="1060501" cy="934679"/>
          </a:xfrm>
          <a:prstGeom prst="rect">
            <a:avLst/>
          </a:prstGeom>
        </p:spPr>
      </p:pic>
      <p:pic>
        <p:nvPicPr>
          <p:cNvPr id="27" name="Picture 26">
            <a:extLst>
              <a:ext uri="{FF2B5EF4-FFF2-40B4-BE49-F238E27FC236}">
                <a16:creationId xmlns:a16="http://schemas.microsoft.com/office/drawing/2014/main" id="{D38BA7B1-0205-4430-892F-5BB6C4663E2C}"/>
              </a:ext>
            </a:extLst>
          </p:cNvPr>
          <p:cNvPicPr>
            <a:picLocks noChangeAspect="1"/>
          </p:cNvPicPr>
          <p:nvPr/>
        </p:nvPicPr>
        <p:blipFill>
          <a:blip r:embed="rId8">
            <a:clrChange>
              <a:clrFrom>
                <a:srgbClr val="FFFFFF"/>
              </a:clrFrom>
              <a:clrTo>
                <a:srgbClr val="FFFFFF">
                  <a:alpha val="0"/>
                </a:srgbClr>
              </a:clrTo>
            </a:clrChange>
            <a:duotone>
              <a:schemeClr val="accent5">
                <a:shade val="45000"/>
                <a:satMod val="135000"/>
              </a:schemeClr>
              <a:prstClr val="white"/>
            </a:duotone>
          </a:blip>
          <a:stretch>
            <a:fillRect/>
          </a:stretch>
        </p:blipFill>
        <p:spPr>
          <a:xfrm>
            <a:off x="3463080" y="3890015"/>
            <a:ext cx="1002220" cy="1010346"/>
          </a:xfrm>
          <a:prstGeom prst="rect">
            <a:avLst/>
          </a:prstGeom>
        </p:spPr>
      </p:pic>
    </p:spTree>
    <p:extLst>
      <p:ext uri="{BB962C8B-B14F-4D97-AF65-F5344CB8AC3E}">
        <p14:creationId xmlns:p14="http://schemas.microsoft.com/office/powerpoint/2010/main" val="3831737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ight Triangle 4">
            <a:extLst>
              <a:ext uri="{FF2B5EF4-FFF2-40B4-BE49-F238E27FC236}">
                <a16:creationId xmlns:a16="http://schemas.microsoft.com/office/drawing/2014/main" id="{0230B4A8-42BC-44F2-8424-DB025E09840C}"/>
              </a:ext>
            </a:extLst>
          </p:cNvPr>
          <p:cNvSpPr/>
          <p:nvPr/>
        </p:nvSpPr>
        <p:spPr>
          <a:xfrm flipH="1">
            <a:off x="4928838" y="0"/>
            <a:ext cx="7263161" cy="6857999"/>
          </a:xfrm>
          <a:prstGeom prst="rtTriangl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rapezoid 5">
            <a:extLst>
              <a:ext uri="{FF2B5EF4-FFF2-40B4-BE49-F238E27FC236}">
                <a16:creationId xmlns:a16="http://schemas.microsoft.com/office/drawing/2014/main" id="{362A30F9-E859-4834-8C11-58A839DCC689}"/>
              </a:ext>
            </a:extLst>
          </p:cNvPr>
          <p:cNvSpPr/>
          <p:nvPr/>
        </p:nvSpPr>
        <p:spPr>
          <a:xfrm>
            <a:off x="3962400" y="0"/>
            <a:ext cx="7824440" cy="6857999"/>
          </a:xfrm>
          <a:prstGeom prst="trapezoid">
            <a:avLst>
              <a:gd name="adj" fmla="val 64309"/>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Isosceles Triangle 7">
            <a:extLst>
              <a:ext uri="{FF2B5EF4-FFF2-40B4-BE49-F238E27FC236}">
                <a16:creationId xmlns:a16="http://schemas.microsoft.com/office/drawing/2014/main" id="{26ACC312-B3EF-4D95-836D-2893E512D694}"/>
              </a:ext>
            </a:extLst>
          </p:cNvPr>
          <p:cNvSpPr/>
          <p:nvPr/>
        </p:nvSpPr>
        <p:spPr>
          <a:xfrm flipV="1">
            <a:off x="7874000" y="-2"/>
            <a:ext cx="4317999" cy="2865864"/>
          </a:xfrm>
          <a:prstGeom prst="triangle">
            <a:avLst>
              <a:gd name="adj" fmla="val 37959"/>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B193A39B-8E2C-4D91-94F8-99E2573FF0D1}"/>
              </a:ext>
            </a:extLst>
          </p:cNvPr>
          <p:cNvSpPr/>
          <p:nvPr/>
        </p:nvSpPr>
        <p:spPr>
          <a:xfrm>
            <a:off x="3078480" y="3745043"/>
            <a:ext cx="1805305" cy="612925"/>
          </a:xfrm>
          <a:prstGeom prst="rect">
            <a:avLst/>
          </a:prstGeom>
        </p:spPr>
        <p:txBody>
          <a:bodyPr wrap="square" lIns="0" tIns="0" rIns="0" bIns="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42900" indent="-342900">
              <a:lnSpc>
                <a:spcPct val="150000"/>
              </a:lnSpc>
              <a:buAutoNum type="arabicPeriod"/>
            </a:pPr>
            <a:endParaRPr lang="en-US" sz="1400">
              <a:solidFill>
                <a:schemeClr val="bg1"/>
              </a:solidFill>
              <a:cs typeface="Segoe UI" panose="020B0502040204020203" pitchFamily="34" charset="0"/>
            </a:endParaRPr>
          </a:p>
          <a:p>
            <a:pPr marL="342900" indent="-342900">
              <a:lnSpc>
                <a:spcPct val="150000"/>
              </a:lnSpc>
              <a:buAutoNum type="arabicPeriod"/>
            </a:pPr>
            <a:endParaRPr lang="en-US" sz="1400">
              <a:solidFill>
                <a:schemeClr val="bg1"/>
              </a:solidFill>
              <a:cs typeface="Segoe UI" panose="020B0502040204020203" pitchFamily="34" charset="0"/>
            </a:endParaRPr>
          </a:p>
        </p:txBody>
      </p:sp>
      <p:grpSp>
        <p:nvGrpSpPr>
          <p:cNvPr id="11" name="Group 10">
            <a:extLst>
              <a:ext uri="{FF2B5EF4-FFF2-40B4-BE49-F238E27FC236}">
                <a16:creationId xmlns:a16="http://schemas.microsoft.com/office/drawing/2014/main" id="{8ABE68E6-9629-488C-B73D-9F9635F7339B}"/>
              </a:ext>
            </a:extLst>
          </p:cNvPr>
          <p:cNvGrpSpPr/>
          <p:nvPr/>
        </p:nvGrpSpPr>
        <p:grpSpPr>
          <a:xfrm>
            <a:off x="4975958" y="1355491"/>
            <a:ext cx="2044685" cy="4663440"/>
            <a:chOff x="7270936" y="1355491"/>
            <a:chExt cx="2044685" cy="4663440"/>
          </a:xfrm>
        </p:grpSpPr>
        <p:sp>
          <p:nvSpPr>
            <p:cNvPr id="17" name="Trapezoid 16">
              <a:extLst>
                <a:ext uri="{FF2B5EF4-FFF2-40B4-BE49-F238E27FC236}">
                  <a16:creationId xmlns:a16="http://schemas.microsoft.com/office/drawing/2014/main" id="{C49F0791-195F-4F34-BA1C-F517B609B6FF}"/>
                </a:ext>
                <a:ext uri="{C183D7F6-B498-43B3-948B-1728B52AA6E4}">
                  <adec:decorative xmlns:adec="http://schemas.microsoft.com/office/drawing/2017/decorative" val="1"/>
                </a:ext>
              </a:extLst>
            </p:cNvPr>
            <p:cNvSpPr/>
            <p:nvPr/>
          </p:nvSpPr>
          <p:spPr>
            <a:xfrm rot="5400000">
              <a:off x="5961559" y="2664868"/>
              <a:ext cx="4663440" cy="2044685"/>
            </a:xfrm>
            <a:prstGeom prst="trapezoid">
              <a:avLst/>
            </a:prstGeom>
            <a:solidFill>
              <a:srgbClr val="1653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81" name="Rectangle 80">
              <a:extLst>
                <a:ext uri="{FF2B5EF4-FFF2-40B4-BE49-F238E27FC236}">
                  <a16:creationId xmlns:a16="http://schemas.microsoft.com/office/drawing/2014/main" id="{2BBCE0AA-FE79-4D49-8254-56DEEE1F089C}"/>
                </a:ext>
              </a:extLst>
            </p:cNvPr>
            <p:cNvSpPr/>
            <p:nvPr/>
          </p:nvSpPr>
          <p:spPr>
            <a:xfrm>
              <a:off x="7489868" y="4490752"/>
              <a:ext cx="1508760" cy="553998"/>
            </a:xfrm>
            <a:prstGeom prst="rect">
              <a:avLst/>
            </a:prstGeom>
          </p:spPr>
          <p:txBody>
            <a:bodyPr wrap="square" lIns="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1">
                  <a:solidFill>
                    <a:schemeClr val="bg1"/>
                  </a:solidFill>
                  <a:latin typeface="Book Antiqua" panose="02040602050305030304" pitchFamily="18" charset="0"/>
                </a:rPr>
                <a:t>Modeling and Results</a:t>
              </a:r>
            </a:p>
          </p:txBody>
        </p:sp>
        <p:sp>
          <p:nvSpPr>
            <p:cNvPr id="82" name="Freeform 4665" descr="Icon of graph. ">
              <a:extLst>
                <a:ext uri="{FF2B5EF4-FFF2-40B4-BE49-F238E27FC236}">
                  <a16:creationId xmlns:a16="http://schemas.microsoft.com/office/drawing/2014/main" id="{1CB940F8-F7E6-4A50-BBC0-19E324452334}"/>
                </a:ext>
              </a:extLst>
            </p:cNvPr>
            <p:cNvSpPr>
              <a:spLocks/>
            </p:cNvSpPr>
            <p:nvPr/>
          </p:nvSpPr>
          <p:spPr bwMode="auto">
            <a:xfrm>
              <a:off x="7715846" y="2842273"/>
              <a:ext cx="1371600" cy="1371600"/>
            </a:xfrm>
            <a:custGeom>
              <a:avLst/>
              <a:gdLst>
                <a:gd name="T0" fmla="*/ 761 w 904"/>
                <a:gd name="T1" fmla="*/ 213 h 903"/>
                <a:gd name="T2" fmla="*/ 754 w 904"/>
                <a:gd name="T3" fmla="*/ 225 h 903"/>
                <a:gd name="T4" fmla="*/ 576 w 904"/>
                <a:gd name="T5" fmla="*/ 277 h 903"/>
                <a:gd name="T6" fmla="*/ 498 w 904"/>
                <a:gd name="T7" fmla="*/ 298 h 903"/>
                <a:gd name="T8" fmla="*/ 431 w 904"/>
                <a:gd name="T9" fmla="*/ 329 h 903"/>
                <a:gd name="T10" fmla="*/ 578 w 904"/>
                <a:gd name="T11" fmla="*/ 170 h 903"/>
                <a:gd name="T12" fmla="*/ 618 w 904"/>
                <a:gd name="T13" fmla="*/ 180 h 903"/>
                <a:gd name="T14" fmla="*/ 661 w 904"/>
                <a:gd name="T15" fmla="*/ 169 h 903"/>
                <a:gd name="T16" fmla="*/ 693 w 904"/>
                <a:gd name="T17" fmla="*/ 141 h 903"/>
                <a:gd name="T18" fmla="*/ 707 w 904"/>
                <a:gd name="T19" fmla="*/ 99 h 903"/>
                <a:gd name="T20" fmla="*/ 701 w 904"/>
                <a:gd name="T21" fmla="*/ 55 h 903"/>
                <a:gd name="T22" fmla="*/ 676 w 904"/>
                <a:gd name="T23" fmla="*/ 20 h 903"/>
                <a:gd name="T24" fmla="*/ 636 w 904"/>
                <a:gd name="T25" fmla="*/ 2 h 903"/>
                <a:gd name="T26" fmla="*/ 591 w 904"/>
                <a:gd name="T27" fmla="*/ 4 h 903"/>
                <a:gd name="T28" fmla="*/ 554 w 904"/>
                <a:gd name="T29" fmla="*/ 25 h 903"/>
                <a:gd name="T30" fmla="*/ 531 w 904"/>
                <a:gd name="T31" fmla="*/ 63 h 903"/>
                <a:gd name="T32" fmla="*/ 532 w 904"/>
                <a:gd name="T33" fmla="*/ 118 h 903"/>
                <a:gd name="T34" fmla="*/ 369 w 904"/>
                <a:gd name="T35" fmla="*/ 289 h 903"/>
                <a:gd name="T36" fmla="*/ 325 w 904"/>
                <a:gd name="T37" fmla="*/ 289 h 903"/>
                <a:gd name="T38" fmla="*/ 294 w 904"/>
                <a:gd name="T39" fmla="*/ 308 h 903"/>
                <a:gd name="T40" fmla="*/ 275 w 904"/>
                <a:gd name="T41" fmla="*/ 338 h 903"/>
                <a:gd name="T42" fmla="*/ 275 w 904"/>
                <a:gd name="T43" fmla="*/ 383 h 903"/>
                <a:gd name="T44" fmla="*/ 113 w 904"/>
                <a:gd name="T45" fmla="*/ 545 h 903"/>
                <a:gd name="T46" fmla="*/ 64 w 904"/>
                <a:gd name="T47" fmla="*/ 546 h 903"/>
                <a:gd name="T48" fmla="*/ 26 w 904"/>
                <a:gd name="T49" fmla="*/ 568 h 903"/>
                <a:gd name="T50" fmla="*/ 5 w 904"/>
                <a:gd name="T51" fmla="*/ 605 h 903"/>
                <a:gd name="T52" fmla="*/ 3 w 904"/>
                <a:gd name="T53" fmla="*/ 650 h 903"/>
                <a:gd name="T54" fmla="*/ 21 w 904"/>
                <a:gd name="T55" fmla="*/ 690 h 903"/>
                <a:gd name="T56" fmla="*/ 56 w 904"/>
                <a:gd name="T57" fmla="*/ 716 h 903"/>
                <a:gd name="T58" fmla="*/ 100 w 904"/>
                <a:gd name="T59" fmla="*/ 722 h 903"/>
                <a:gd name="T60" fmla="*/ 142 w 904"/>
                <a:gd name="T61" fmla="*/ 706 h 903"/>
                <a:gd name="T62" fmla="*/ 170 w 904"/>
                <a:gd name="T63" fmla="*/ 675 h 903"/>
                <a:gd name="T64" fmla="*/ 181 w 904"/>
                <a:gd name="T65" fmla="*/ 632 h 903"/>
                <a:gd name="T66" fmla="*/ 171 w 904"/>
                <a:gd name="T67" fmla="*/ 591 h 903"/>
                <a:gd name="T68" fmla="*/ 316 w 904"/>
                <a:gd name="T69" fmla="*/ 430 h 903"/>
                <a:gd name="T70" fmla="*/ 286 w 904"/>
                <a:gd name="T71" fmla="*/ 538 h 903"/>
                <a:gd name="T72" fmla="*/ 271 w 904"/>
                <a:gd name="T73" fmla="*/ 753 h 903"/>
                <a:gd name="T74" fmla="*/ 216 w 904"/>
                <a:gd name="T75" fmla="*/ 757 h 903"/>
                <a:gd name="T76" fmla="*/ 212 w 904"/>
                <a:gd name="T77" fmla="*/ 888 h 903"/>
                <a:gd name="T78" fmla="*/ 218 w 904"/>
                <a:gd name="T79" fmla="*/ 901 h 903"/>
                <a:gd name="T80" fmla="*/ 349 w 904"/>
                <a:gd name="T81" fmla="*/ 903 h 903"/>
                <a:gd name="T82" fmla="*/ 361 w 904"/>
                <a:gd name="T83" fmla="*/ 894 h 903"/>
                <a:gd name="T84" fmla="*/ 361 w 904"/>
                <a:gd name="T85" fmla="*/ 762 h 903"/>
                <a:gd name="T86" fmla="*/ 349 w 904"/>
                <a:gd name="T87" fmla="*/ 753 h 903"/>
                <a:gd name="T88" fmla="*/ 305 w 904"/>
                <a:gd name="T89" fmla="*/ 597 h 903"/>
                <a:gd name="T90" fmla="*/ 343 w 904"/>
                <a:gd name="T91" fmla="*/ 469 h 903"/>
                <a:gd name="T92" fmla="*/ 383 w 904"/>
                <a:gd name="T93" fmla="*/ 426 h 903"/>
                <a:gd name="T94" fmla="*/ 418 w 904"/>
                <a:gd name="T95" fmla="*/ 383 h 903"/>
                <a:gd name="T96" fmla="*/ 471 w 904"/>
                <a:gd name="T97" fmla="*/ 342 h 903"/>
                <a:gd name="T98" fmla="*/ 544 w 904"/>
                <a:gd name="T99" fmla="*/ 315 h 903"/>
                <a:gd name="T100" fmla="*/ 627 w 904"/>
                <a:gd name="T101" fmla="*/ 302 h 903"/>
                <a:gd name="T102" fmla="*/ 754 w 904"/>
                <a:gd name="T103" fmla="*/ 348 h 903"/>
                <a:gd name="T104" fmla="*/ 763 w 904"/>
                <a:gd name="T105" fmla="*/ 360 h 903"/>
                <a:gd name="T106" fmla="*/ 895 w 904"/>
                <a:gd name="T107" fmla="*/ 360 h 903"/>
                <a:gd name="T108" fmla="*/ 904 w 904"/>
                <a:gd name="T109" fmla="*/ 348 h 903"/>
                <a:gd name="T110" fmla="*/ 902 w 904"/>
                <a:gd name="T111" fmla="*/ 217 h 903"/>
                <a:gd name="T112" fmla="*/ 889 w 904"/>
                <a:gd name="T113" fmla="*/ 211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04" h="903">
                  <a:moveTo>
                    <a:pt x="889" y="211"/>
                  </a:moveTo>
                  <a:lnTo>
                    <a:pt x="768" y="211"/>
                  </a:lnTo>
                  <a:lnTo>
                    <a:pt x="765" y="211"/>
                  </a:lnTo>
                  <a:lnTo>
                    <a:pt x="763" y="212"/>
                  </a:lnTo>
                  <a:lnTo>
                    <a:pt x="761" y="213"/>
                  </a:lnTo>
                  <a:lnTo>
                    <a:pt x="758" y="215"/>
                  </a:lnTo>
                  <a:lnTo>
                    <a:pt x="756" y="217"/>
                  </a:lnTo>
                  <a:lnTo>
                    <a:pt x="755" y="220"/>
                  </a:lnTo>
                  <a:lnTo>
                    <a:pt x="754" y="222"/>
                  </a:lnTo>
                  <a:lnTo>
                    <a:pt x="754" y="225"/>
                  </a:lnTo>
                  <a:lnTo>
                    <a:pt x="754" y="271"/>
                  </a:lnTo>
                  <a:lnTo>
                    <a:pt x="663" y="271"/>
                  </a:lnTo>
                  <a:lnTo>
                    <a:pt x="627" y="272"/>
                  </a:lnTo>
                  <a:lnTo>
                    <a:pt x="593" y="275"/>
                  </a:lnTo>
                  <a:lnTo>
                    <a:pt x="576" y="277"/>
                  </a:lnTo>
                  <a:lnTo>
                    <a:pt x="561" y="281"/>
                  </a:lnTo>
                  <a:lnTo>
                    <a:pt x="545" y="284"/>
                  </a:lnTo>
                  <a:lnTo>
                    <a:pt x="529" y="287"/>
                  </a:lnTo>
                  <a:lnTo>
                    <a:pt x="513" y="292"/>
                  </a:lnTo>
                  <a:lnTo>
                    <a:pt x="498" y="298"/>
                  </a:lnTo>
                  <a:lnTo>
                    <a:pt x="484" y="302"/>
                  </a:lnTo>
                  <a:lnTo>
                    <a:pt x="470" y="309"/>
                  </a:lnTo>
                  <a:lnTo>
                    <a:pt x="457" y="315"/>
                  </a:lnTo>
                  <a:lnTo>
                    <a:pt x="443" y="323"/>
                  </a:lnTo>
                  <a:lnTo>
                    <a:pt x="431" y="329"/>
                  </a:lnTo>
                  <a:lnTo>
                    <a:pt x="418" y="337"/>
                  </a:lnTo>
                  <a:lnTo>
                    <a:pt x="415" y="328"/>
                  </a:lnTo>
                  <a:lnTo>
                    <a:pt x="409" y="319"/>
                  </a:lnTo>
                  <a:lnTo>
                    <a:pt x="565" y="163"/>
                  </a:lnTo>
                  <a:lnTo>
                    <a:pt x="578" y="170"/>
                  </a:lnTo>
                  <a:lnTo>
                    <a:pt x="590" y="176"/>
                  </a:lnTo>
                  <a:lnTo>
                    <a:pt x="597" y="178"/>
                  </a:lnTo>
                  <a:lnTo>
                    <a:pt x="604" y="179"/>
                  </a:lnTo>
                  <a:lnTo>
                    <a:pt x="610" y="180"/>
                  </a:lnTo>
                  <a:lnTo>
                    <a:pt x="618" y="180"/>
                  </a:lnTo>
                  <a:lnTo>
                    <a:pt x="627" y="180"/>
                  </a:lnTo>
                  <a:lnTo>
                    <a:pt x="636" y="178"/>
                  </a:lnTo>
                  <a:lnTo>
                    <a:pt x="644" y="176"/>
                  </a:lnTo>
                  <a:lnTo>
                    <a:pt x="653" y="173"/>
                  </a:lnTo>
                  <a:lnTo>
                    <a:pt x="661" y="169"/>
                  </a:lnTo>
                  <a:lnTo>
                    <a:pt x="668" y="164"/>
                  </a:lnTo>
                  <a:lnTo>
                    <a:pt x="676" y="160"/>
                  </a:lnTo>
                  <a:lnTo>
                    <a:pt x="681" y="154"/>
                  </a:lnTo>
                  <a:lnTo>
                    <a:pt x="687" y="147"/>
                  </a:lnTo>
                  <a:lnTo>
                    <a:pt x="693" y="141"/>
                  </a:lnTo>
                  <a:lnTo>
                    <a:pt x="697" y="133"/>
                  </a:lnTo>
                  <a:lnTo>
                    <a:pt x="701" y="125"/>
                  </a:lnTo>
                  <a:lnTo>
                    <a:pt x="704" y="117"/>
                  </a:lnTo>
                  <a:lnTo>
                    <a:pt x="706" y="108"/>
                  </a:lnTo>
                  <a:lnTo>
                    <a:pt x="707" y="99"/>
                  </a:lnTo>
                  <a:lnTo>
                    <a:pt x="709" y="90"/>
                  </a:lnTo>
                  <a:lnTo>
                    <a:pt x="707" y="81"/>
                  </a:lnTo>
                  <a:lnTo>
                    <a:pt x="706" y="72"/>
                  </a:lnTo>
                  <a:lnTo>
                    <a:pt x="704" y="63"/>
                  </a:lnTo>
                  <a:lnTo>
                    <a:pt x="701" y="55"/>
                  </a:lnTo>
                  <a:lnTo>
                    <a:pt x="697" y="47"/>
                  </a:lnTo>
                  <a:lnTo>
                    <a:pt x="693" y="39"/>
                  </a:lnTo>
                  <a:lnTo>
                    <a:pt x="687" y="32"/>
                  </a:lnTo>
                  <a:lnTo>
                    <a:pt x="681" y="25"/>
                  </a:lnTo>
                  <a:lnTo>
                    <a:pt x="676" y="20"/>
                  </a:lnTo>
                  <a:lnTo>
                    <a:pt x="668" y="15"/>
                  </a:lnTo>
                  <a:lnTo>
                    <a:pt x="661" y="11"/>
                  </a:lnTo>
                  <a:lnTo>
                    <a:pt x="653" y="6"/>
                  </a:lnTo>
                  <a:lnTo>
                    <a:pt x="644" y="4"/>
                  </a:lnTo>
                  <a:lnTo>
                    <a:pt x="636" y="2"/>
                  </a:lnTo>
                  <a:lnTo>
                    <a:pt x="627" y="0"/>
                  </a:lnTo>
                  <a:lnTo>
                    <a:pt x="618" y="0"/>
                  </a:lnTo>
                  <a:lnTo>
                    <a:pt x="609" y="0"/>
                  </a:lnTo>
                  <a:lnTo>
                    <a:pt x="600" y="2"/>
                  </a:lnTo>
                  <a:lnTo>
                    <a:pt x="591" y="4"/>
                  </a:lnTo>
                  <a:lnTo>
                    <a:pt x="583" y="6"/>
                  </a:lnTo>
                  <a:lnTo>
                    <a:pt x="575" y="11"/>
                  </a:lnTo>
                  <a:lnTo>
                    <a:pt x="567" y="15"/>
                  </a:lnTo>
                  <a:lnTo>
                    <a:pt x="561" y="20"/>
                  </a:lnTo>
                  <a:lnTo>
                    <a:pt x="554" y="25"/>
                  </a:lnTo>
                  <a:lnTo>
                    <a:pt x="548" y="32"/>
                  </a:lnTo>
                  <a:lnTo>
                    <a:pt x="543" y="39"/>
                  </a:lnTo>
                  <a:lnTo>
                    <a:pt x="538" y="47"/>
                  </a:lnTo>
                  <a:lnTo>
                    <a:pt x="535" y="55"/>
                  </a:lnTo>
                  <a:lnTo>
                    <a:pt x="531" y="63"/>
                  </a:lnTo>
                  <a:lnTo>
                    <a:pt x="529" y="72"/>
                  </a:lnTo>
                  <a:lnTo>
                    <a:pt x="528" y="81"/>
                  </a:lnTo>
                  <a:lnTo>
                    <a:pt x="528" y="90"/>
                  </a:lnTo>
                  <a:lnTo>
                    <a:pt x="529" y="105"/>
                  </a:lnTo>
                  <a:lnTo>
                    <a:pt x="532" y="118"/>
                  </a:lnTo>
                  <a:lnTo>
                    <a:pt x="537" y="131"/>
                  </a:lnTo>
                  <a:lnTo>
                    <a:pt x="545" y="142"/>
                  </a:lnTo>
                  <a:lnTo>
                    <a:pt x="388" y="298"/>
                  </a:lnTo>
                  <a:lnTo>
                    <a:pt x="379" y="293"/>
                  </a:lnTo>
                  <a:lnTo>
                    <a:pt x="369" y="289"/>
                  </a:lnTo>
                  <a:lnTo>
                    <a:pt x="358" y="286"/>
                  </a:lnTo>
                  <a:lnTo>
                    <a:pt x="347" y="285"/>
                  </a:lnTo>
                  <a:lnTo>
                    <a:pt x="339" y="286"/>
                  </a:lnTo>
                  <a:lnTo>
                    <a:pt x="331" y="287"/>
                  </a:lnTo>
                  <a:lnTo>
                    <a:pt x="325" y="289"/>
                  </a:lnTo>
                  <a:lnTo>
                    <a:pt x="318" y="292"/>
                  </a:lnTo>
                  <a:lnTo>
                    <a:pt x="311" y="294"/>
                  </a:lnTo>
                  <a:lnTo>
                    <a:pt x="304" y="299"/>
                  </a:lnTo>
                  <a:lnTo>
                    <a:pt x="299" y="303"/>
                  </a:lnTo>
                  <a:lnTo>
                    <a:pt x="294" y="308"/>
                  </a:lnTo>
                  <a:lnTo>
                    <a:pt x="288" y="313"/>
                  </a:lnTo>
                  <a:lnTo>
                    <a:pt x="284" y="319"/>
                  </a:lnTo>
                  <a:lnTo>
                    <a:pt x="281" y="325"/>
                  </a:lnTo>
                  <a:lnTo>
                    <a:pt x="277" y="332"/>
                  </a:lnTo>
                  <a:lnTo>
                    <a:pt x="275" y="338"/>
                  </a:lnTo>
                  <a:lnTo>
                    <a:pt x="273" y="346"/>
                  </a:lnTo>
                  <a:lnTo>
                    <a:pt x="271" y="353"/>
                  </a:lnTo>
                  <a:lnTo>
                    <a:pt x="271" y="361"/>
                  </a:lnTo>
                  <a:lnTo>
                    <a:pt x="273" y="372"/>
                  </a:lnTo>
                  <a:lnTo>
                    <a:pt x="275" y="383"/>
                  </a:lnTo>
                  <a:lnTo>
                    <a:pt x="278" y="393"/>
                  </a:lnTo>
                  <a:lnTo>
                    <a:pt x="284" y="403"/>
                  </a:lnTo>
                  <a:lnTo>
                    <a:pt x="134" y="553"/>
                  </a:lnTo>
                  <a:lnTo>
                    <a:pt x="124" y="547"/>
                  </a:lnTo>
                  <a:lnTo>
                    <a:pt x="113" y="545"/>
                  </a:lnTo>
                  <a:lnTo>
                    <a:pt x="102" y="543"/>
                  </a:lnTo>
                  <a:lnTo>
                    <a:pt x="91" y="542"/>
                  </a:lnTo>
                  <a:lnTo>
                    <a:pt x="82" y="542"/>
                  </a:lnTo>
                  <a:lnTo>
                    <a:pt x="73" y="544"/>
                  </a:lnTo>
                  <a:lnTo>
                    <a:pt x="64" y="546"/>
                  </a:lnTo>
                  <a:lnTo>
                    <a:pt x="56" y="548"/>
                  </a:lnTo>
                  <a:lnTo>
                    <a:pt x="48" y="553"/>
                  </a:lnTo>
                  <a:lnTo>
                    <a:pt x="40" y="557"/>
                  </a:lnTo>
                  <a:lnTo>
                    <a:pt x="33" y="562"/>
                  </a:lnTo>
                  <a:lnTo>
                    <a:pt x="26" y="568"/>
                  </a:lnTo>
                  <a:lnTo>
                    <a:pt x="21" y="574"/>
                  </a:lnTo>
                  <a:lnTo>
                    <a:pt x="16" y="581"/>
                  </a:lnTo>
                  <a:lnTo>
                    <a:pt x="12" y="589"/>
                  </a:lnTo>
                  <a:lnTo>
                    <a:pt x="7" y="597"/>
                  </a:lnTo>
                  <a:lnTo>
                    <a:pt x="5" y="605"/>
                  </a:lnTo>
                  <a:lnTo>
                    <a:pt x="3" y="614"/>
                  </a:lnTo>
                  <a:lnTo>
                    <a:pt x="0" y="623"/>
                  </a:lnTo>
                  <a:lnTo>
                    <a:pt x="0" y="632"/>
                  </a:lnTo>
                  <a:lnTo>
                    <a:pt x="0" y="641"/>
                  </a:lnTo>
                  <a:lnTo>
                    <a:pt x="3" y="650"/>
                  </a:lnTo>
                  <a:lnTo>
                    <a:pt x="5" y="659"/>
                  </a:lnTo>
                  <a:lnTo>
                    <a:pt x="7" y="667"/>
                  </a:lnTo>
                  <a:lnTo>
                    <a:pt x="12" y="675"/>
                  </a:lnTo>
                  <a:lnTo>
                    <a:pt x="16" y="683"/>
                  </a:lnTo>
                  <a:lnTo>
                    <a:pt x="21" y="690"/>
                  </a:lnTo>
                  <a:lnTo>
                    <a:pt x="26" y="696"/>
                  </a:lnTo>
                  <a:lnTo>
                    <a:pt x="33" y="702"/>
                  </a:lnTo>
                  <a:lnTo>
                    <a:pt x="40" y="706"/>
                  </a:lnTo>
                  <a:lnTo>
                    <a:pt x="48" y="711"/>
                  </a:lnTo>
                  <a:lnTo>
                    <a:pt x="56" y="716"/>
                  </a:lnTo>
                  <a:lnTo>
                    <a:pt x="64" y="718"/>
                  </a:lnTo>
                  <a:lnTo>
                    <a:pt x="73" y="720"/>
                  </a:lnTo>
                  <a:lnTo>
                    <a:pt x="82" y="722"/>
                  </a:lnTo>
                  <a:lnTo>
                    <a:pt x="91" y="722"/>
                  </a:lnTo>
                  <a:lnTo>
                    <a:pt x="100" y="722"/>
                  </a:lnTo>
                  <a:lnTo>
                    <a:pt x="109" y="720"/>
                  </a:lnTo>
                  <a:lnTo>
                    <a:pt x="118" y="718"/>
                  </a:lnTo>
                  <a:lnTo>
                    <a:pt x="126" y="716"/>
                  </a:lnTo>
                  <a:lnTo>
                    <a:pt x="134" y="711"/>
                  </a:lnTo>
                  <a:lnTo>
                    <a:pt x="142" y="706"/>
                  </a:lnTo>
                  <a:lnTo>
                    <a:pt x="148" y="702"/>
                  </a:lnTo>
                  <a:lnTo>
                    <a:pt x="155" y="696"/>
                  </a:lnTo>
                  <a:lnTo>
                    <a:pt x="161" y="690"/>
                  </a:lnTo>
                  <a:lnTo>
                    <a:pt x="165" y="683"/>
                  </a:lnTo>
                  <a:lnTo>
                    <a:pt x="170" y="675"/>
                  </a:lnTo>
                  <a:lnTo>
                    <a:pt x="174" y="667"/>
                  </a:lnTo>
                  <a:lnTo>
                    <a:pt x="177" y="659"/>
                  </a:lnTo>
                  <a:lnTo>
                    <a:pt x="179" y="650"/>
                  </a:lnTo>
                  <a:lnTo>
                    <a:pt x="181" y="641"/>
                  </a:lnTo>
                  <a:lnTo>
                    <a:pt x="181" y="632"/>
                  </a:lnTo>
                  <a:lnTo>
                    <a:pt x="181" y="623"/>
                  </a:lnTo>
                  <a:lnTo>
                    <a:pt x="180" y="615"/>
                  </a:lnTo>
                  <a:lnTo>
                    <a:pt x="178" y="607"/>
                  </a:lnTo>
                  <a:lnTo>
                    <a:pt x="174" y="599"/>
                  </a:lnTo>
                  <a:lnTo>
                    <a:pt x="171" y="591"/>
                  </a:lnTo>
                  <a:lnTo>
                    <a:pt x="168" y="585"/>
                  </a:lnTo>
                  <a:lnTo>
                    <a:pt x="163" y="578"/>
                  </a:lnTo>
                  <a:lnTo>
                    <a:pt x="157" y="571"/>
                  </a:lnTo>
                  <a:lnTo>
                    <a:pt x="305" y="424"/>
                  </a:lnTo>
                  <a:lnTo>
                    <a:pt x="316" y="430"/>
                  </a:lnTo>
                  <a:lnTo>
                    <a:pt x="328" y="433"/>
                  </a:lnTo>
                  <a:lnTo>
                    <a:pt x="314" y="457"/>
                  </a:lnTo>
                  <a:lnTo>
                    <a:pt x="303" y="483"/>
                  </a:lnTo>
                  <a:lnTo>
                    <a:pt x="294" y="510"/>
                  </a:lnTo>
                  <a:lnTo>
                    <a:pt x="286" y="538"/>
                  </a:lnTo>
                  <a:lnTo>
                    <a:pt x="279" y="568"/>
                  </a:lnTo>
                  <a:lnTo>
                    <a:pt x="275" y="598"/>
                  </a:lnTo>
                  <a:lnTo>
                    <a:pt x="273" y="630"/>
                  </a:lnTo>
                  <a:lnTo>
                    <a:pt x="271" y="662"/>
                  </a:lnTo>
                  <a:lnTo>
                    <a:pt x="271" y="753"/>
                  </a:lnTo>
                  <a:lnTo>
                    <a:pt x="226" y="753"/>
                  </a:lnTo>
                  <a:lnTo>
                    <a:pt x="223" y="753"/>
                  </a:lnTo>
                  <a:lnTo>
                    <a:pt x="221" y="754"/>
                  </a:lnTo>
                  <a:lnTo>
                    <a:pt x="218" y="755"/>
                  </a:lnTo>
                  <a:lnTo>
                    <a:pt x="216" y="757"/>
                  </a:lnTo>
                  <a:lnTo>
                    <a:pt x="214" y="760"/>
                  </a:lnTo>
                  <a:lnTo>
                    <a:pt x="213" y="762"/>
                  </a:lnTo>
                  <a:lnTo>
                    <a:pt x="212" y="764"/>
                  </a:lnTo>
                  <a:lnTo>
                    <a:pt x="212" y="767"/>
                  </a:lnTo>
                  <a:lnTo>
                    <a:pt x="212" y="888"/>
                  </a:lnTo>
                  <a:lnTo>
                    <a:pt x="212" y="891"/>
                  </a:lnTo>
                  <a:lnTo>
                    <a:pt x="213" y="894"/>
                  </a:lnTo>
                  <a:lnTo>
                    <a:pt x="214" y="896"/>
                  </a:lnTo>
                  <a:lnTo>
                    <a:pt x="216" y="898"/>
                  </a:lnTo>
                  <a:lnTo>
                    <a:pt x="218" y="901"/>
                  </a:lnTo>
                  <a:lnTo>
                    <a:pt x="221" y="902"/>
                  </a:lnTo>
                  <a:lnTo>
                    <a:pt x="223" y="903"/>
                  </a:lnTo>
                  <a:lnTo>
                    <a:pt x="226" y="903"/>
                  </a:lnTo>
                  <a:lnTo>
                    <a:pt x="347" y="903"/>
                  </a:lnTo>
                  <a:lnTo>
                    <a:pt x="349" y="903"/>
                  </a:lnTo>
                  <a:lnTo>
                    <a:pt x="353" y="902"/>
                  </a:lnTo>
                  <a:lnTo>
                    <a:pt x="355" y="901"/>
                  </a:lnTo>
                  <a:lnTo>
                    <a:pt x="357" y="898"/>
                  </a:lnTo>
                  <a:lnTo>
                    <a:pt x="360" y="896"/>
                  </a:lnTo>
                  <a:lnTo>
                    <a:pt x="361" y="894"/>
                  </a:lnTo>
                  <a:lnTo>
                    <a:pt x="362" y="891"/>
                  </a:lnTo>
                  <a:lnTo>
                    <a:pt x="362" y="888"/>
                  </a:lnTo>
                  <a:lnTo>
                    <a:pt x="362" y="767"/>
                  </a:lnTo>
                  <a:lnTo>
                    <a:pt x="362" y="764"/>
                  </a:lnTo>
                  <a:lnTo>
                    <a:pt x="361" y="762"/>
                  </a:lnTo>
                  <a:lnTo>
                    <a:pt x="360" y="760"/>
                  </a:lnTo>
                  <a:lnTo>
                    <a:pt x="357" y="757"/>
                  </a:lnTo>
                  <a:lnTo>
                    <a:pt x="355" y="755"/>
                  </a:lnTo>
                  <a:lnTo>
                    <a:pt x="353" y="754"/>
                  </a:lnTo>
                  <a:lnTo>
                    <a:pt x="349" y="753"/>
                  </a:lnTo>
                  <a:lnTo>
                    <a:pt x="347" y="753"/>
                  </a:lnTo>
                  <a:lnTo>
                    <a:pt x="302" y="753"/>
                  </a:lnTo>
                  <a:lnTo>
                    <a:pt x="302" y="662"/>
                  </a:lnTo>
                  <a:lnTo>
                    <a:pt x="303" y="629"/>
                  </a:lnTo>
                  <a:lnTo>
                    <a:pt x="305" y="597"/>
                  </a:lnTo>
                  <a:lnTo>
                    <a:pt x="310" y="566"/>
                  </a:lnTo>
                  <a:lnTo>
                    <a:pt x="317" y="537"/>
                  </a:lnTo>
                  <a:lnTo>
                    <a:pt x="326" y="509"/>
                  </a:lnTo>
                  <a:lnTo>
                    <a:pt x="336" y="482"/>
                  </a:lnTo>
                  <a:lnTo>
                    <a:pt x="343" y="469"/>
                  </a:lnTo>
                  <a:lnTo>
                    <a:pt x="348" y="457"/>
                  </a:lnTo>
                  <a:lnTo>
                    <a:pt x="355" y="446"/>
                  </a:lnTo>
                  <a:lnTo>
                    <a:pt x="363" y="434"/>
                  </a:lnTo>
                  <a:lnTo>
                    <a:pt x="373" y="431"/>
                  </a:lnTo>
                  <a:lnTo>
                    <a:pt x="383" y="426"/>
                  </a:lnTo>
                  <a:lnTo>
                    <a:pt x="393" y="420"/>
                  </a:lnTo>
                  <a:lnTo>
                    <a:pt x="401" y="413"/>
                  </a:lnTo>
                  <a:lnTo>
                    <a:pt x="408" y="404"/>
                  </a:lnTo>
                  <a:lnTo>
                    <a:pt x="414" y="395"/>
                  </a:lnTo>
                  <a:lnTo>
                    <a:pt x="418" y="383"/>
                  </a:lnTo>
                  <a:lnTo>
                    <a:pt x="421" y="372"/>
                  </a:lnTo>
                  <a:lnTo>
                    <a:pt x="433" y="364"/>
                  </a:lnTo>
                  <a:lnTo>
                    <a:pt x="445" y="356"/>
                  </a:lnTo>
                  <a:lnTo>
                    <a:pt x="458" y="348"/>
                  </a:lnTo>
                  <a:lnTo>
                    <a:pt x="471" y="342"/>
                  </a:lnTo>
                  <a:lnTo>
                    <a:pt x="485" y="335"/>
                  </a:lnTo>
                  <a:lnTo>
                    <a:pt x="498" y="329"/>
                  </a:lnTo>
                  <a:lnTo>
                    <a:pt x="513" y="324"/>
                  </a:lnTo>
                  <a:lnTo>
                    <a:pt x="529" y="319"/>
                  </a:lnTo>
                  <a:lnTo>
                    <a:pt x="544" y="315"/>
                  </a:lnTo>
                  <a:lnTo>
                    <a:pt x="559" y="311"/>
                  </a:lnTo>
                  <a:lnTo>
                    <a:pt x="576" y="308"/>
                  </a:lnTo>
                  <a:lnTo>
                    <a:pt x="593" y="306"/>
                  </a:lnTo>
                  <a:lnTo>
                    <a:pt x="610" y="303"/>
                  </a:lnTo>
                  <a:lnTo>
                    <a:pt x="627" y="302"/>
                  </a:lnTo>
                  <a:lnTo>
                    <a:pt x="645" y="301"/>
                  </a:lnTo>
                  <a:lnTo>
                    <a:pt x="663" y="301"/>
                  </a:lnTo>
                  <a:lnTo>
                    <a:pt x="754" y="301"/>
                  </a:lnTo>
                  <a:lnTo>
                    <a:pt x="754" y="346"/>
                  </a:lnTo>
                  <a:lnTo>
                    <a:pt x="754" y="348"/>
                  </a:lnTo>
                  <a:lnTo>
                    <a:pt x="755" y="352"/>
                  </a:lnTo>
                  <a:lnTo>
                    <a:pt x="756" y="354"/>
                  </a:lnTo>
                  <a:lnTo>
                    <a:pt x="758" y="356"/>
                  </a:lnTo>
                  <a:lnTo>
                    <a:pt x="761" y="359"/>
                  </a:lnTo>
                  <a:lnTo>
                    <a:pt x="763" y="360"/>
                  </a:lnTo>
                  <a:lnTo>
                    <a:pt x="765" y="361"/>
                  </a:lnTo>
                  <a:lnTo>
                    <a:pt x="768" y="361"/>
                  </a:lnTo>
                  <a:lnTo>
                    <a:pt x="889" y="361"/>
                  </a:lnTo>
                  <a:lnTo>
                    <a:pt x="892" y="361"/>
                  </a:lnTo>
                  <a:lnTo>
                    <a:pt x="895" y="360"/>
                  </a:lnTo>
                  <a:lnTo>
                    <a:pt x="897" y="359"/>
                  </a:lnTo>
                  <a:lnTo>
                    <a:pt x="899" y="356"/>
                  </a:lnTo>
                  <a:lnTo>
                    <a:pt x="902" y="354"/>
                  </a:lnTo>
                  <a:lnTo>
                    <a:pt x="903" y="352"/>
                  </a:lnTo>
                  <a:lnTo>
                    <a:pt x="904" y="348"/>
                  </a:lnTo>
                  <a:lnTo>
                    <a:pt x="904" y="346"/>
                  </a:lnTo>
                  <a:lnTo>
                    <a:pt x="904" y="225"/>
                  </a:lnTo>
                  <a:lnTo>
                    <a:pt x="904" y="222"/>
                  </a:lnTo>
                  <a:lnTo>
                    <a:pt x="903" y="220"/>
                  </a:lnTo>
                  <a:lnTo>
                    <a:pt x="902" y="217"/>
                  </a:lnTo>
                  <a:lnTo>
                    <a:pt x="899" y="215"/>
                  </a:lnTo>
                  <a:lnTo>
                    <a:pt x="897" y="213"/>
                  </a:lnTo>
                  <a:lnTo>
                    <a:pt x="895" y="212"/>
                  </a:lnTo>
                  <a:lnTo>
                    <a:pt x="892" y="211"/>
                  </a:lnTo>
                  <a:lnTo>
                    <a:pt x="889" y="2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b="1"/>
            </a:p>
          </p:txBody>
        </p:sp>
      </p:grpSp>
      <p:pic>
        <p:nvPicPr>
          <p:cNvPr id="32" name="Picture 3" descr="Image result for purdue krannert">
            <a:extLst>
              <a:ext uri="{FF2B5EF4-FFF2-40B4-BE49-F238E27FC236}">
                <a16:creationId xmlns:a16="http://schemas.microsoft.com/office/drawing/2014/main" id="{22B0B614-2168-4BC0-A57B-90F6C12372A9}"/>
              </a:ext>
            </a:extLst>
          </p:cNvPr>
          <p:cNvPicPr>
            <a:picLocks noChangeAspect="1" noChangeArrowheads="1"/>
          </p:cNvPicPr>
          <p:nvPr/>
        </p:nvPicPr>
        <p:blipFill>
          <a:blip r:embed="rId2" cstate="hqprint">
            <a:extLst>
              <a:ext uri="{28A0092B-C50C-407E-A947-70E740481C1C}">
                <a14:useLocalDpi xmlns:a14="http://schemas.microsoft.com/office/drawing/2010/main" val="0"/>
              </a:ext>
            </a:extLst>
          </a:blip>
          <a:srcRect/>
          <a:stretch>
            <a:fillRect/>
          </a:stretch>
        </p:blipFill>
        <p:spPr bwMode="auto">
          <a:xfrm>
            <a:off x="10998011" y="6266638"/>
            <a:ext cx="1139559" cy="571555"/>
          </a:xfrm>
          <a:prstGeom prst="rect">
            <a:avLst/>
          </a:prstGeom>
          <a:noFill/>
          <a:extLst>
            <a:ext uri="{909E8E84-426E-40DD-AFC4-6F175D3DCCD1}">
              <a14:hiddenFill xmlns:a14="http://schemas.microsoft.com/office/drawing/2010/main">
                <a:solidFill>
                  <a:srgbClr val="FFFFFF"/>
                </a:solidFill>
              </a14:hiddenFill>
            </a:ext>
          </a:extLst>
        </p:spPr>
      </p:pic>
      <p:sp>
        <p:nvSpPr>
          <p:cNvPr id="34" name="TextBox 33">
            <a:extLst>
              <a:ext uri="{FF2B5EF4-FFF2-40B4-BE49-F238E27FC236}">
                <a16:creationId xmlns:a16="http://schemas.microsoft.com/office/drawing/2014/main" id="{20D5DF74-A0B6-4FDF-BCD5-92CAB4E8EEEF}"/>
              </a:ext>
            </a:extLst>
          </p:cNvPr>
          <p:cNvSpPr txBox="1"/>
          <p:nvPr/>
        </p:nvSpPr>
        <p:spPr>
          <a:xfrm>
            <a:off x="233082" y="251012"/>
            <a:ext cx="10941978" cy="523220"/>
          </a:xfrm>
          <a:prstGeom prst="rect">
            <a:avLst/>
          </a:prstGeom>
          <a:noFill/>
        </p:spPr>
        <p:txBody>
          <a:bodyPr wrap="square" rtlCol="0">
            <a:spAutoFit/>
          </a:bodyPr>
          <a:lstStyle/>
          <a:p>
            <a:r>
              <a:rPr lang="en-US" sz="2800" b="1">
                <a:latin typeface="Georgia" panose="02040502050405020303" pitchFamily="18" charset="0"/>
              </a:rPr>
              <a:t>AGENDA</a:t>
            </a:r>
          </a:p>
        </p:txBody>
      </p:sp>
      <p:sp>
        <p:nvSpPr>
          <p:cNvPr id="35" name="Rectangle 34">
            <a:extLst>
              <a:ext uri="{FF2B5EF4-FFF2-40B4-BE49-F238E27FC236}">
                <a16:creationId xmlns:a16="http://schemas.microsoft.com/office/drawing/2014/main" id="{63C355C1-BDC9-4C94-9E16-D72C0E46BA1B}"/>
              </a:ext>
            </a:extLst>
          </p:cNvPr>
          <p:cNvSpPr/>
          <p:nvPr/>
        </p:nvSpPr>
        <p:spPr>
          <a:xfrm>
            <a:off x="400050" y="6812280"/>
            <a:ext cx="11791579" cy="4572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a:t>
            </a:r>
          </a:p>
        </p:txBody>
      </p:sp>
      <p:pic>
        <p:nvPicPr>
          <p:cNvPr id="36" name="Graphic 35" descr="Toothpaste">
            <a:extLst>
              <a:ext uri="{FF2B5EF4-FFF2-40B4-BE49-F238E27FC236}">
                <a16:creationId xmlns:a16="http://schemas.microsoft.com/office/drawing/2014/main" id="{EC329E47-FF83-47E4-B506-8325D652BDC5}"/>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6219692">
            <a:off x="-34366" y="6088478"/>
            <a:ext cx="598153" cy="598153"/>
          </a:xfrm>
          <a:prstGeom prst="rect">
            <a:avLst/>
          </a:prstGeom>
        </p:spPr>
      </p:pic>
      <p:pic>
        <p:nvPicPr>
          <p:cNvPr id="37" name="Graphic 36" descr="Snake">
            <a:extLst>
              <a:ext uri="{FF2B5EF4-FFF2-40B4-BE49-F238E27FC236}">
                <a16:creationId xmlns:a16="http://schemas.microsoft.com/office/drawing/2014/main" id="{F855B1C3-7E68-4E3B-985F-051BA62C34B1}"/>
              </a:ext>
            </a:extLst>
          </p:cNvPr>
          <p:cNvPicPr>
            <a:picLocks noChangeAspect="1"/>
          </p:cNvPicPr>
          <p:nvPr/>
        </p:nvPicPr>
        <p:blipFill rotWithShape="1">
          <a:blip r:embed="rId5" cstate="hq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l="-2" t="56027" r="47111"/>
          <a:stretch/>
        </p:blipFill>
        <p:spPr>
          <a:xfrm rot="7001259">
            <a:off x="297005" y="6680310"/>
            <a:ext cx="336423" cy="279713"/>
          </a:xfrm>
          <a:prstGeom prst="rect">
            <a:avLst/>
          </a:prstGeom>
        </p:spPr>
      </p:pic>
      <p:grpSp>
        <p:nvGrpSpPr>
          <p:cNvPr id="24" name="Group 23">
            <a:extLst>
              <a:ext uri="{FF2B5EF4-FFF2-40B4-BE49-F238E27FC236}">
                <a16:creationId xmlns:a16="http://schemas.microsoft.com/office/drawing/2014/main" id="{F4BFBC9F-2D91-4170-A74D-F024E11DCB65}"/>
              </a:ext>
            </a:extLst>
          </p:cNvPr>
          <p:cNvGrpSpPr/>
          <p:nvPr/>
        </p:nvGrpSpPr>
        <p:grpSpPr>
          <a:xfrm>
            <a:off x="770541" y="1355491"/>
            <a:ext cx="2044685" cy="4663440"/>
            <a:chOff x="770541" y="1355491"/>
            <a:chExt cx="2044685" cy="4663440"/>
          </a:xfrm>
        </p:grpSpPr>
        <p:sp>
          <p:nvSpPr>
            <p:cNvPr id="25" name="Trapezoid 24">
              <a:extLst>
                <a:ext uri="{FF2B5EF4-FFF2-40B4-BE49-F238E27FC236}">
                  <a16:creationId xmlns:a16="http://schemas.microsoft.com/office/drawing/2014/main" id="{CC709B22-F031-4448-8A95-FBE351040975}"/>
                </a:ext>
                <a:ext uri="{C183D7F6-B498-43B3-948B-1728B52AA6E4}">
                  <adec:decorative xmlns:adec="http://schemas.microsoft.com/office/drawing/2017/decorative" val="1"/>
                </a:ext>
              </a:extLst>
            </p:cNvPr>
            <p:cNvSpPr/>
            <p:nvPr/>
          </p:nvSpPr>
          <p:spPr>
            <a:xfrm rot="5400000">
              <a:off x="-538836" y="2664868"/>
              <a:ext cx="4663440" cy="2044685"/>
            </a:xfrm>
            <a:prstGeom prst="trapezoid">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grpSp>
          <p:nvGrpSpPr>
            <p:cNvPr id="26" name="Group 25">
              <a:extLst>
                <a:ext uri="{FF2B5EF4-FFF2-40B4-BE49-F238E27FC236}">
                  <a16:creationId xmlns:a16="http://schemas.microsoft.com/office/drawing/2014/main" id="{5EF528F5-E383-4A0F-A5DE-ED5B1E7C04B2}"/>
                </a:ext>
              </a:extLst>
            </p:cNvPr>
            <p:cNvGrpSpPr/>
            <p:nvPr/>
          </p:nvGrpSpPr>
          <p:grpSpPr>
            <a:xfrm>
              <a:off x="993304" y="2997373"/>
              <a:ext cx="1537775" cy="2323138"/>
              <a:chOff x="993304" y="2997373"/>
              <a:chExt cx="1537775" cy="2323138"/>
            </a:xfrm>
          </p:grpSpPr>
          <p:sp>
            <p:nvSpPr>
              <p:cNvPr id="27" name="Rectangle 26">
                <a:extLst>
                  <a:ext uri="{FF2B5EF4-FFF2-40B4-BE49-F238E27FC236}">
                    <a16:creationId xmlns:a16="http://schemas.microsoft.com/office/drawing/2014/main" id="{6697EE41-7366-4011-8C17-E7911ECD7309}"/>
                  </a:ext>
                </a:extLst>
              </p:cNvPr>
              <p:cNvSpPr/>
              <p:nvPr/>
            </p:nvSpPr>
            <p:spPr>
              <a:xfrm>
                <a:off x="993304" y="4489514"/>
                <a:ext cx="1537775" cy="830997"/>
              </a:xfrm>
              <a:prstGeom prst="rect">
                <a:avLst/>
              </a:prstGeom>
            </p:spPr>
            <p:txBody>
              <a:bodyPr wrap="square" lIns="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1">
                    <a:solidFill>
                      <a:schemeClr val="bg1"/>
                    </a:solidFill>
                    <a:latin typeface="Book Antiqua" panose="02040602050305030304" pitchFamily="18" charset="0"/>
                  </a:rPr>
                  <a:t>Introduction and Problem Statement</a:t>
                </a:r>
              </a:p>
            </p:txBody>
          </p:sp>
          <p:sp>
            <p:nvSpPr>
              <p:cNvPr id="29" name="Freeform 1676" descr="Icon of check box. ">
                <a:extLst>
                  <a:ext uri="{FF2B5EF4-FFF2-40B4-BE49-F238E27FC236}">
                    <a16:creationId xmlns:a16="http://schemas.microsoft.com/office/drawing/2014/main" id="{9C9D2255-64B9-418F-B123-F77355697661}"/>
                  </a:ext>
                </a:extLst>
              </p:cNvPr>
              <p:cNvSpPr>
                <a:spLocks noEditPoints="1"/>
              </p:cNvSpPr>
              <p:nvPr/>
            </p:nvSpPr>
            <p:spPr bwMode="auto">
              <a:xfrm>
                <a:off x="1201778" y="2997373"/>
                <a:ext cx="1199054" cy="1199054"/>
              </a:xfrm>
              <a:custGeom>
                <a:avLst/>
                <a:gdLst>
                  <a:gd name="T0" fmla="*/ 374 w 719"/>
                  <a:gd name="T1" fmla="*/ 267 h 719"/>
                  <a:gd name="T2" fmla="*/ 366 w 719"/>
                  <a:gd name="T3" fmla="*/ 263 h 719"/>
                  <a:gd name="T4" fmla="*/ 362 w 719"/>
                  <a:gd name="T5" fmla="*/ 254 h 719"/>
                  <a:gd name="T6" fmla="*/ 366 w 719"/>
                  <a:gd name="T7" fmla="*/ 247 h 719"/>
                  <a:gd name="T8" fmla="*/ 374 w 719"/>
                  <a:gd name="T9" fmla="*/ 243 h 719"/>
                  <a:gd name="T10" fmla="*/ 621 w 719"/>
                  <a:gd name="T11" fmla="*/ 244 h 719"/>
                  <a:gd name="T12" fmla="*/ 627 w 719"/>
                  <a:gd name="T13" fmla="*/ 250 h 719"/>
                  <a:gd name="T14" fmla="*/ 627 w 719"/>
                  <a:gd name="T15" fmla="*/ 260 h 719"/>
                  <a:gd name="T16" fmla="*/ 621 w 719"/>
                  <a:gd name="T17" fmla="*/ 265 h 719"/>
                  <a:gd name="T18" fmla="*/ 616 w 719"/>
                  <a:gd name="T19" fmla="*/ 528 h 719"/>
                  <a:gd name="T20" fmla="*/ 370 w 719"/>
                  <a:gd name="T21" fmla="*/ 527 h 719"/>
                  <a:gd name="T22" fmla="*/ 363 w 719"/>
                  <a:gd name="T23" fmla="*/ 521 h 719"/>
                  <a:gd name="T24" fmla="*/ 363 w 719"/>
                  <a:gd name="T25" fmla="*/ 512 h 719"/>
                  <a:gd name="T26" fmla="*/ 370 w 719"/>
                  <a:gd name="T27" fmla="*/ 505 h 719"/>
                  <a:gd name="T28" fmla="*/ 616 w 719"/>
                  <a:gd name="T29" fmla="*/ 504 h 719"/>
                  <a:gd name="T30" fmla="*/ 625 w 719"/>
                  <a:gd name="T31" fmla="*/ 507 h 719"/>
                  <a:gd name="T32" fmla="*/ 628 w 719"/>
                  <a:gd name="T33" fmla="*/ 516 h 719"/>
                  <a:gd name="T34" fmla="*/ 625 w 719"/>
                  <a:gd name="T35" fmla="*/ 525 h 719"/>
                  <a:gd name="T36" fmla="*/ 616 w 719"/>
                  <a:gd name="T37" fmla="*/ 528 h 719"/>
                  <a:gd name="T38" fmla="*/ 171 w 719"/>
                  <a:gd name="T39" fmla="*/ 279 h 719"/>
                  <a:gd name="T40" fmla="*/ 164 w 719"/>
                  <a:gd name="T41" fmla="*/ 282 h 719"/>
                  <a:gd name="T42" fmla="*/ 155 w 719"/>
                  <a:gd name="T43" fmla="*/ 279 h 719"/>
                  <a:gd name="T44" fmla="*/ 92 w 719"/>
                  <a:gd name="T45" fmla="*/ 214 h 719"/>
                  <a:gd name="T46" fmla="*/ 92 w 719"/>
                  <a:gd name="T47" fmla="*/ 205 h 719"/>
                  <a:gd name="T48" fmla="*/ 98 w 719"/>
                  <a:gd name="T49" fmla="*/ 198 h 719"/>
                  <a:gd name="T50" fmla="*/ 107 w 719"/>
                  <a:gd name="T51" fmla="*/ 198 h 719"/>
                  <a:gd name="T52" fmla="*/ 164 w 719"/>
                  <a:gd name="T53" fmla="*/ 253 h 719"/>
                  <a:gd name="T54" fmla="*/ 309 w 719"/>
                  <a:gd name="T55" fmla="*/ 109 h 719"/>
                  <a:gd name="T56" fmla="*/ 318 w 719"/>
                  <a:gd name="T57" fmla="*/ 109 h 719"/>
                  <a:gd name="T58" fmla="*/ 325 w 719"/>
                  <a:gd name="T59" fmla="*/ 114 h 719"/>
                  <a:gd name="T60" fmla="*/ 325 w 719"/>
                  <a:gd name="T61" fmla="*/ 124 h 719"/>
                  <a:gd name="T62" fmla="*/ 323 w 719"/>
                  <a:gd name="T63" fmla="*/ 414 h 719"/>
                  <a:gd name="T64" fmla="*/ 168 w 719"/>
                  <a:gd name="T65" fmla="*/ 568 h 719"/>
                  <a:gd name="T66" fmla="*/ 158 w 719"/>
                  <a:gd name="T67" fmla="*/ 568 h 719"/>
                  <a:gd name="T68" fmla="*/ 94 w 719"/>
                  <a:gd name="T69" fmla="*/ 505 h 719"/>
                  <a:gd name="T70" fmla="*/ 91 w 719"/>
                  <a:gd name="T71" fmla="*/ 497 h 719"/>
                  <a:gd name="T72" fmla="*/ 94 w 719"/>
                  <a:gd name="T73" fmla="*/ 488 h 719"/>
                  <a:gd name="T74" fmla="*/ 103 w 719"/>
                  <a:gd name="T75" fmla="*/ 485 h 719"/>
                  <a:gd name="T76" fmla="*/ 111 w 719"/>
                  <a:gd name="T77" fmla="*/ 488 h 719"/>
                  <a:gd name="T78" fmla="*/ 306 w 719"/>
                  <a:gd name="T79" fmla="*/ 397 h 719"/>
                  <a:gd name="T80" fmla="*/ 314 w 719"/>
                  <a:gd name="T81" fmla="*/ 394 h 719"/>
                  <a:gd name="T82" fmla="*/ 323 w 719"/>
                  <a:gd name="T83" fmla="*/ 398 h 719"/>
                  <a:gd name="T84" fmla="*/ 326 w 719"/>
                  <a:gd name="T85" fmla="*/ 406 h 719"/>
                  <a:gd name="T86" fmla="*/ 323 w 719"/>
                  <a:gd name="T87" fmla="*/ 414 h 719"/>
                  <a:gd name="T88" fmla="*/ 12 w 719"/>
                  <a:gd name="T89" fmla="*/ 0 h 719"/>
                  <a:gd name="T90" fmla="*/ 3 w 719"/>
                  <a:gd name="T91" fmla="*/ 5 h 719"/>
                  <a:gd name="T92" fmla="*/ 0 w 719"/>
                  <a:gd name="T93" fmla="*/ 13 h 719"/>
                  <a:gd name="T94" fmla="*/ 1 w 719"/>
                  <a:gd name="T95" fmla="*/ 713 h 719"/>
                  <a:gd name="T96" fmla="*/ 8 w 719"/>
                  <a:gd name="T97" fmla="*/ 719 h 719"/>
                  <a:gd name="T98" fmla="*/ 707 w 719"/>
                  <a:gd name="T99" fmla="*/ 719 h 719"/>
                  <a:gd name="T100" fmla="*/ 716 w 719"/>
                  <a:gd name="T101" fmla="*/ 716 h 719"/>
                  <a:gd name="T102" fmla="*/ 719 w 719"/>
                  <a:gd name="T103" fmla="*/ 707 h 719"/>
                  <a:gd name="T104" fmla="*/ 718 w 719"/>
                  <a:gd name="T105" fmla="*/ 8 h 719"/>
                  <a:gd name="T106" fmla="*/ 711 w 719"/>
                  <a:gd name="T107" fmla="*/ 2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19" h="719">
                    <a:moveTo>
                      <a:pt x="616" y="267"/>
                    </a:moveTo>
                    <a:lnTo>
                      <a:pt x="374" y="267"/>
                    </a:lnTo>
                    <a:lnTo>
                      <a:pt x="370" y="265"/>
                    </a:lnTo>
                    <a:lnTo>
                      <a:pt x="366" y="263"/>
                    </a:lnTo>
                    <a:lnTo>
                      <a:pt x="363" y="260"/>
                    </a:lnTo>
                    <a:lnTo>
                      <a:pt x="362" y="254"/>
                    </a:lnTo>
                    <a:lnTo>
                      <a:pt x="363" y="250"/>
                    </a:lnTo>
                    <a:lnTo>
                      <a:pt x="366" y="247"/>
                    </a:lnTo>
                    <a:lnTo>
                      <a:pt x="370" y="244"/>
                    </a:lnTo>
                    <a:lnTo>
                      <a:pt x="374" y="243"/>
                    </a:lnTo>
                    <a:lnTo>
                      <a:pt x="616" y="243"/>
                    </a:lnTo>
                    <a:lnTo>
                      <a:pt x="621" y="244"/>
                    </a:lnTo>
                    <a:lnTo>
                      <a:pt x="625" y="247"/>
                    </a:lnTo>
                    <a:lnTo>
                      <a:pt x="627" y="250"/>
                    </a:lnTo>
                    <a:lnTo>
                      <a:pt x="628" y="254"/>
                    </a:lnTo>
                    <a:lnTo>
                      <a:pt x="627" y="260"/>
                    </a:lnTo>
                    <a:lnTo>
                      <a:pt x="625" y="263"/>
                    </a:lnTo>
                    <a:lnTo>
                      <a:pt x="621" y="265"/>
                    </a:lnTo>
                    <a:lnTo>
                      <a:pt x="616" y="267"/>
                    </a:lnTo>
                    <a:close/>
                    <a:moveTo>
                      <a:pt x="616" y="528"/>
                    </a:moveTo>
                    <a:lnTo>
                      <a:pt x="374" y="528"/>
                    </a:lnTo>
                    <a:lnTo>
                      <a:pt x="370" y="527"/>
                    </a:lnTo>
                    <a:lnTo>
                      <a:pt x="366" y="525"/>
                    </a:lnTo>
                    <a:lnTo>
                      <a:pt x="363" y="521"/>
                    </a:lnTo>
                    <a:lnTo>
                      <a:pt x="362" y="516"/>
                    </a:lnTo>
                    <a:lnTo>
                      <a:pt x="363" y="512"/>
                    </a:lnTo>
                    <a:lnTo>
                      <a:pt x="366" y="507"/>
                    </a:lnTo>
                    <a:lnTo>
                      <a:pt x="370" y="505"/>
                    </a:lnTo>
                    <a:lnTo>
                      <a:pt x="374" y="504"/>
                    </a:lnTo>
                    <a:lnTo>
                      <a:pt x="616" y="504"/>
                    </a:lnTo>
                    <a:lnTo>
                      <a:pt x="621" y="505"/>
                    </a:lnTo>
                    <a:lnTo>
                      <a:pt x="625" y="507"/>
                    </a:lnTo>
                    <a:lnTo>
                      <a:pt x="627" y="512"/>
                    </a:lnTo>
                    <a:lnTo>
                      <a:pt x="628" y="516"/>
                    </a:lnTo>
                    <a:lnTo>
                      <a:pt x="627" y="521"/>
                    </a:lnTo>
                    <a:lnTo>
                      <a:pt x="625" y="525"/>
                    </a:lnTo>
                    <a:lnTo>
                      <a:pt x="621" y="527"/>
                    </a:lnTo>
                    <a:lnTo>
                      <a:pt x="616" y="528"/>
                    </a:lnTo>
                    <a:close/>
                    <a:moveTo>
                      <a:pt x="323" y="127"/>
                    </a:moveTo>
                    <a:lnTo>
                      <a:pt x="171" y="279"/>
                    </a:lnTo>
                    <a:lnTo>
                      <a:pt x="168" y="282"/>
                    </a:lnTo>
                    <a:lnTo>
                      <a:pt x="164" y="282"/>
                    </a:lnTo>
                    <a:lnTo>
                      <a:pt x="158" y="282"/>
                    </a:lnTo>
                    <a:lnTo>
                      <a:pt x="155" y="279"/>
                    </a:lnTo>
                    <a:lnTo>
                      <a:pt x="94" y="218"/>
                    </a:lnTo>
                    <a:lnTo>
                      <a:pt x="92" y="214"/>
                    </a:lnTo>
                    <a:lnTo>
                      <a:pt x="91" y="209"/>
                    </a:lnTo>
                    <a:lnTo>
                      <a:pt x="92" y="205"/>
                    </a:lnTo>
                    <a:lnTo>
                      <a:pt x="94" y="201"/>
                    </a:lnTo>
                    <a:lnTo>
                      <a:pt x="98" y="198"/>
                    </a:lnTo>
                    <a:lnTo>
                      <a:pt x="103" y="197"/>
                    </a:lnTo>
                    <a:lnTo>
                      <a:pt x="107" y="198"/>
                    </a:lnTo>
                    <a:lnTo>
                      <a:pt x="111" y="201"/>
                    </a:lnTo>
                    <a:lnTo>
                      <a:pt x="164" y="253"/>
                    </a:lnTo>
                    <a:lnTo>
                      <a:pt x="306" y="111"/>
                    </a:lnTo>
                    <a:lnTo>
                      <a:pt x="309" y="109"/>
                    </a:lnTo>
                    <a:lnTo>
                      <a:pt x="314" y="108"/>
                    </a:lnTo>
                    <a:lnTo>
                      <a:pt x="318" y="109"/>
                    </a:lnTo>
                    <a:lnTo>
                      <a:pt x="323" y="111"/>
                    </a:lnTo>
                    <a:lnTo>
                      <a:pt x="325" y="114"/>
                    </a:lnTo>
                    <a:lnTo>
                      <a:pt x="326" y="119"/>
                    </a:lnTo>
                    <a:lnTo>
                      <a:pt x="325" y="124"/>
                    </a:lnTo>
                    <a:lnTo>
                      <a:pt x="323" y="127"/>
                    </a:lnTo>
                    <a:close/>
                    <a:moveTo>
                      <a:pt x="323" y="414"/>
                    </a:moveTo>
                    <a:lnTo>
                      <a:pt x="171" y="565"/>
                    </a:lnTo>
                    <a:lnTo>
                      <a:pt x="168" y="568"/>
                    </a:lnTo>
                    <a:lnTo>
                      <a:pt x="164" y="569"/>
                    </a:lnTo>
                    <a:lnTo>
                      <a:pt x="158" y="568"/>
                    </a:lnTo>
                    <a:lnTo>
                      <a:pt x="155" y="565"/>
                    </a:lnTo>
                    <a:lnTo>
                      <a:pt x="94" y="505"/>
                    </a:lnTo>
                    <a:lnTo>
                      <a:pt x="92" y="502"/>
                    </a:lnTo>
                    <a:lnTo>
                      <a:pt x="91" y="497"/>
                    </a:lnTo>
                    <a:lnTo>
                      <a:pt x="92" y="493"/>
                    </a:lnTo>
                    <a:lnTo>
                      <a:pt x="94" y="488"/>
                    </a:lnTo>
                    <a:lnTo>
                      <a:pt x="98" y="486"/>
                    </a:lnTo>
                    <a:lnTo>
                      <a:pt x="103" y="485"/>
                    </a:lnTo>
                    <a:lnTo>
                      <a:pt x="107" y="486"/>
                    </a:lnTo>
                    <a:lnTo>
                      <a:pt x="111" y="488"/>
                    </a:lnTo>
                    <a:lnTo>
                      <a:pt x="164" y="540"/>
                    </a:lnTo>
                    <a:lnTo>
                      <a:pt x="306" y="397"/>
                    </a:lnTo>
                    <a:lnTo>
                      <a:pt x="309" y="395"/>
                    </a:lnTo>
                    <a:lnTo>
                      <a:pt x="314" y="394"/>
                    </a:lnTo>
                    <a:lnTo>
                      <a:pt x="318" y="395"/>
                    </a:lnTo>
                    <a:lnTo>
                      <a:pt x="323" y="398"/>
                    </a:lnTo>
                    <a:lnTo>
                      <a:pt x="325" y="401"/>
                    </a:lnTo>
                    <a:lnTo>
                      <a:pt x="326" y="406"/>
                    </a:lnTo>
                    <a:lnTo>
                      <a:pt x="325" y="410"/>
                    </a:lnTo>
                    <a:lnTo>
                      <a:pt x="323" y="414"/>
                    </a:lnTo>
                    <a:close/>
                    <a:moveTo>
                      <a:pt x="707" y="0"/>
                    </a:moveTo>
                    <a:lnTo>
                      <a:pt x="12" y="0"/>
                    </a:lnTo>
                    <a:lnTo>
                      <a:pt x="8" y="2"/>
                    </a:lnTo>
                    <a:lnTo>
                      <a:pt x="3" y="5"/>
                    </a:lnTo>
                    <a:lnTo>
                      <a:pt x="1" y="8"/>
                    </a:lnTo>
                    <a:lnTo>
                      <a:pt x="0" y="13"/>
                    </a:lnTo>
                    <a:lnTo>
                      <a:pt x="0" y="707"/>
                    </a:lnTo>
                    <a:lnTo>
                      <a:pt x="1" y="713"/>
                    </a:lnTo>
                    <a:lnTo>
                      <a:pt x="3" y="716"/>
                    </a:lnTo>
                    <a:lnTo>
                      <a:pt x="8" y="719"/>
                    </a:lnTo>
                    <a:lnTo>
                      <a:pt x="12" y="719"/>
                    </a:lnTo>
                    <a:lnTo>
                      <a:pt x="707" y="719"/>
                    </a:lnTo>
                    <a:lnTo>
                      <a:pt x="711" y="719"/>
                    </a:lnTo>
                    <a:lnTo>
                      <a:pt x="716" y="716"/>
                    </a:lnTo>
                    <a:lnTo>
                      <a:pt x="718" y="713"/>
                    </a:lnTo>
                    <a:lnTo>
                      <a:pt x="719" y="707"/>
                    </a:lnTo>
                    <a:lnTo>
                      <a:pt x="719" y="13"/>
                    </a:lnTo>
                    <a:lnTo>
                      <a:pt x="718" y="8"/>
                    </a:lnTo>
                    <a:lnTo>
                      <a:pt x="716" y="5"/>
                    </a:lnTo>
                    <a:lnTo>
                      <a:pt x="711" y="2"/>
                    </a:lnTo>
                    <a:lnTo>
                      <a:pt x="707"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b="1"/>
              </a:p>
            </p:txBody>
          </p:sp>
        </p:grpSp>
      </p:grpSp>
      <p:grpSp>
        <p:nvGrpSpPr>
          <p:cNvPr id="30" name="Group 29">
            <a:extLst>
              <a:ext uri="{FF2B5EF4-FFF2-40B4-BE49-F238E27FC236}">
                <a16:creationId xmlns:a16="http://schemas.microsoft.com/office/drawing/2014/main" id="{12116F6A-3C86-4976-B887-3AFE43B2CD12}"/>
              </a:ext>
            </a:extLst>
          </p:cNvPr>
          <p:cNvGrpSpPr/>
          <p:nvPr/>
        </p:nvGrpSpPr>
        <p:grpSpPr>
          <a:xfrm>
            <a:off x="9200020" y="1356854"/>
            <a:ext cx="2188782" cy="4663440"/>
            <a:chOff x="9342265" y="1355491"/>
            <a:chExt cx="2188782" cy="4663440"/>
          </a:xfrm>
        </p:grpSpPr>
        <p:sp>
          <p:nvSpPr>
            <p:cNvPr id="31" name="Trapezoid 30">
              <a:extLst>
                <a:ext uri="{FF2B5EF4-FFF2-40B4-BE49-F238E27FC236}">
                  <a16:creationId xmlns:a16="http://schemas.microsoft.com/office/drawing/2014/main" id="{F170862A-CEA9-4544-AD24-7F74716465CE}"/>
                </a:ext>
                <a:ext uri="{C183D7F6-B498-43B3-948B-1728B52AA6E4}">
                  <adec:decorative xmlns:adec="http://schemas.microsoft.com/office/drawing/2017/decorative" val="1"/>
                </a:ext>
              </a:extLst>
            </p:cNvPr>
            <p:cNvSpPr/>
            <p:nvPr/>
          </p:nvSpPr>
          <p:spPr>
            <a:xfrm rot="5400000">
              <a:off x="8130516" y="2664868"/>
              <a:ext cx="4663440" cy="2044685"/>
            </a:xfrm>
            <a:prstGeom prst="trapezoid">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38" name="Freeform 4346" descr="Icon of box and whisker chart. ">
              <a:extLst>
                <a:ext uri="{FF2B5EF4-FFF2-40B4-BE49-F238E27FC236}">
                  <a16:creationId xmlns:a16="http://schemas.microsoft.com/office/drawing/2014/main" id="{B3FCB26D-8A23-41EB-9CAD-52E9EDCC94C6}"/>
                </a:ext>
              </a:extLst>
            </p:cNvPr>
            <p:cNvSpPr>
              <a:spLocks noEditPoints="1"/>
            </p:cNvSpPr>
            <p:nvPr/>
          </p:nvSpPr>
          <p:spPr bwMode="auto">
            <a:xfrm>
              <a:off x="9837129" y="2975754"/>
              <a:ext cx="1199054" cy="1199054"/>
            </a:xfrm>
            <a:custGeom>
              <a:avLst/>
              <a:gdLst>
                <a:gd name="T0" fmla="*/ 706 w 898"/>
                <a:gd name="T1" fmla="*/ 479 h 898"/>
                <a:gd name="T2" fmla="*/ 652 w 898"/>
                <a:gd name="T3" fmla="*/ 556 h 898"/>
                <a:gd name="T4" fmla="*/ 632 w 898"/>
                <a:gd name="T5" fmla="*/ 551 h 898"/>
                <a:gd name="T6" fmla="*/ 576 w 898"/>
                <a:gd name="T7" fmla="*/ 477 h 898"/>
                <a:gd name="T8" fmla="*/ 571 w 898"/>
                <a:gd name="T9" fmla="*/ 398 h 898"/>
                <a:gd name="T10" fmla="*/ 628 w 898"/>
                <a:gd name="T11" fmla="*/ 129 h 898"/>
                <a:gd name="T12" fmla="*/ 643 w 898"/>
                <a:gd name="T13" fmla="*/ 114 h 898"/>
                <a:gd name="T14" fmla="*/ 658 w 898"/>
                <a:gd name="T15" fmla="*/ 129 h 898"/>
                <a:gd name="T16" fmla="*/ 717 w 898"/>
                <a:gd name="T17" fmla="*/ 398 h 898"/>
                <a:gd name="T18" fmla="*/ 621 w 898"/>
                <a:gd name="T19" fmla="*/ 758 h 898"/>
                <a:gd name="T20" fmla="*/ 589 w 898"/>
                <a:gd name="T21" fmla="*/ 727 h 898"/>
                <a:gd name="T22" fmla="*/ 589 w 898"/>
                <a:gd name="T23" fmla="*/ 680 h 898"/>
                <a:gd name="T24" fmla="*/ 621 w 898"/>
                <a:gd name="T25" fmla="*/ 648 h 898"/>
                <a:gd name="T26" fmla="*/ 667 w 898"/>
                <a:gd name="T27" fmla="*/ 648 h 898"/>
                <a:gd name="T28" fmla="*/ 699 w 898"/>
                <a:gd name="T29" fmla="*/ 680 h 898"/>
                <a:gd name="T30" fmla="*/ 699 w 898"/>
                <a:gd name="T31" fmla="*/ 727 h 898"/>
                <a:gd name="T32" fmla="*/ 667 w 898"/>
                <a:gd name="T33" fmla="*/ 758 h 898"/>
                <a:gd name="T34" fmla="*/ 536 w 898"/>
                <a:gd name="T35" fmla="*/ 294 h 898"/>
                <a:gd name="T36" fmla="*/ 479 w 898"/>
                <a:gd name="T37" fmla="*/ 546 h 898"/>
                <a:gd name="T38" fmla="*/ 461 w 898"/>
                <a:gd name="T39" fmla="*/ 558 h 898"/>
                <a:gd name="T40" fmla="*/ 450 w 898"/>
                <a:gd name="T41" fmla="*/ 299 h 898"/>
                <a:gd name="T42" fmla="*/ 390 w 898"/>
                <a:gd name="T43" fmla="*/ 287 h 898"/>
                <a:gd name="T44" fmla="*/ 398 w 898"/>
                <a:gd name="T45" fmla="*/ 211 h 898"/>
                <a:gd name="T46" fmla="*/ 454 w 898"/>
                <a:gd name="T47" fmla="*/ 118 h 898"/>
                <a:gd name="T48" fmla="*/ 475 w 898"/>
                <a:gd name="T49" fmla="*/ 118 h 898"/>
                <a:gd name="T50" fmla="*/ 530 w 898"/>
                <a:gd name="T51" fmla="*/ 211 h 898"/>
                <a:gd name="T52" fmla="*/ 465 w 898"/>
                <a:gd name="T53" fmla="*/ 763 h 898"/>
                <a:gd name="T54" fmla="*/ 422 w 898"/>
                <a:gd name="T55" fmla="*/ 745 h 898"/>
                <a:gd name="T56" fmla="*/ 405 w 898"/>
                <a:gd name="T57" fmla="*/ 703 h 898"/>
                <a:gd name="T58" fmla="*/ 422 w 898"/>
                <a:gd name="T59" fmla="*/ 661 h 898"/>
                <a:gd name="T60" fmla="*/ 465 w 898"/>
                <a:gd name="T61" fmla="*/ 643 h 898"/>
                <a:gd name="T62" fmla="*/ 506 w 898"/>
                <a:gd name="T63" fmla="*/ 661 h 898"/>
                <a:gd name="T64" fmla="*/ 525 w 898"/>
                <a:gd name="T65" fmla="*/ 703 h 898"/>
                <a:gd name="T66" fmla="*/ 506 w 898"/>
                <a:gd name="T67" fmla="*/ 745 h 898"/>
                <a:gd name="T68" fmla="*/ 465 w 898"/>
                <a:gd name="T69" fmla="*/ 763 h 898"/>
                <a:gd name="T70" fmla="*/ 318 w 898"/>
                <a:gd name="T71" fmla="*/ 419 h 898"/>
                <a:gd name="T72" fmla="*/ 263 w 898"/>
                <a:gd name="T73" fmla="*/ 556 h 898"/>
                <a:gd name="T74" fmla="*/ 242 w 898"/>
                <a:gd name="T75" fmla="*/ 551 h 898"/>
                <a:gd name="T76" fmla="*/ 186 w 898"/>
                <a:gd name="T77" fmla="*/ 417 h 898"/>
                <a:gd name="T78" fmla="*/ 181 w 898"/>
                <a:gd name="T79" fmla="*/ 339 h 898"/>
                <a:gd name="T80" fmla="*/ 240 w 898"/>
                <a:gd name="T81" fmla="*/ 129 h 898"/>
                <a:gd name="T82" fmla="*/ 255 w 898"/>
                <a:gd name="T83" fmla="*/ 114 h 898"/>
                <a:gd name="T84" fmla="*/ 270 w 898"/>
                <a:gd name="T85" fmla="*/ 129 h 898"/>
                <a:gd name="T86" fmla="*/ 329 w 898"/>
                <a:gd name="T87" fmla="*/ 339 h 898"/>
                <a:gd name="T88" fmla="*/ 231 w 898"/>
                <a:gd name="T89" fmla="*/ 758 h 898"/>
                <a:gd name="T90" fmla="*/ 200 w 898"/>
                <a:gd name="T91" fmla="*/ 727 h 898"/>
                <a:gd name="T92" fmla="*/ 200 w 898"/>
                <a:gd name="T93" fmla="*/ 680 h 898"/>
                <a:gd name="T94" fmla="*/ 231 w 898"/>
                <a:gd name="T95" fmla="*/ 648 h 898"/>
                <a:gd name="T96" fmla="*/ 278 w 898"/>
                <a:gd name="T97" fmla="*/ 648 h 898"/>
                <a:gd name="T98" fmla="*/ 311 w 898"/>
                <a:gd name="T99" fmla="*/ 680 h 898"/>
                <a:gd name="T100" fmla="*/ 311 w 898"/>
                <a:gd name="T101" fmla="*/ 727 h 898"/>
                <a:gd name="T102" fmla="*/ 278 w 898"/>
                <a:gd name="T103" fmla="*/ 758 h 898"/>
                <a:gd name="T104" fmla="*/ 10 w 898"/>
                <a:gd name="T105" fmla="*/ 2 h 898"/>
                <a:gd name="T106" fmla="*/ 1 w 898"/>
                <a:gd name="T107" fmla="*/ 886 h 898"/>
                <a:gd name="T108" fmla="*/ 883 w 898"/>
                <a:gd name="T109" fmla="*/ 898 h 898"/>
                <a:gd name="T110" fmla="*/ 898 w 898"/>
                <a:gd name="T111" fmla="*/ 883 h 898"/>
                <a:gd name="T112" fmla="*/ 886 w 898"/>
                <a:gd name="T113" fmla="*/ 0 h 8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98" h="898">
                  <a:moveTo>
                    <a:pt x="718" y="464"/>
                  </a:moveTo>
                  <a:lnTo>
                    <a:pt x="718" y="467"/>
                  </a:lnTo>
                  <a:lnTo>
                    <a:pt x="717" y="470"/>
                  </a:lnTo>
                  <a:lnTo>
                    <a:pt x="716" y="472"/>
                  </a:lnTo>
                  <a:lnTo>
                    <a:pt x="714" y="474"/>
                  </a:lnTo>
                  <a:lnTo>
                    <a:pt x="712" y="477"/>
                  </a:lnTo>
                  <a:lnTo>
                    <a:pt x="710" y="478"/>
                  </a:lnTo>
                  <a:lnTo>
                    <a:pt x="706" y="479"/>
                  </a:lnTo>
                  <a:lnTo>
                    <a:pt x="703" y="479"/>
                  </a:lnTo>
                  <a:lnTo>
                    <a:pt x="658" y="479"/>
                  </a:lnTo>
                  <a:lnTo>
                    <a:pt x="658" y="543"/>
                  </a:lnTo>
                  <a:lnTo>
                    <a:pt x="658" y="546"/>
                  </a:lnTo>
                  <a:lnTo>
                    <a:pt x="657" y="549"/>
                  </a:lnTo>
                  <a:lnTo>
                    <a:pt x="656" y="551"/>
                  </a:lnTo>
                  <a:lnTo>
                    <a:pt x="654" y="554"/>
                  </a:lnTo>
                  <a:lnTo>
                    <a:pt x="652" y="556"/>
                  </a:lnTo>
                  <a:lnTo>
                    <a:pt x="650" y="557"/>
                  </a:lnTo>
                  <a:lnTo>
                    <a:pt x="647" y="558"/>
                  </a:lnTo>
                  <a:lnTo>
                    <a:pt x="643" y="558"/>
                  </a:lnTo>
                  <a:lnTo>
                    <a:pt x="641" y="558"/>
                  </a:lnTo>
                  <a:lnTo>
                    <a:pt x="638" y="557"/>
                  </a:lnTo>
                  <a:lnTo>
                    <a:pt x="636" y="556"/>
                  </a:lnTo>
                  <a:lnTo>
                    <a:pt x="634" y="554"/>
                  </a:lnTo>
                  <a:lnTo>
                    <a:pt x="632" y="551"/>
                  </a:lnTo>
                  <a:lnTo>
                    <a:pt x="631" y="549"/>
                  </a:lnTo>
                  <a:lnTo>
                    <a:pt x="629" y="546"/>
                  </a:lnTo>
                  <a:lnTo>
                    <a:pt x="628" y="543"/>
                  </a:lnTo>
                  <a:lnTo>
                    <a:pt x="628" y="479"/>
                  </a:lnTo>
                  <a:lnTo>
                    <a:pt x="583" y="479"/>
                  </a:lnTo>
                  <a:lnTo>
                    <a:pt x="581" y="479"/>
                  </a:lnTo>
                  <a:lnTo>
                    <a:pt x="578" y="478"/>
                  </a:lnTo>
                  <a:lnTo>
                    <a:pt x="576" y="477"/>
                  </a:lnTo>
                  <a:lnTo>
                    <a:pt x="574" y="474"/>
                  </a:lnTo>
                  <a:lnTo>
                    <a:pt x="572" y="472"/>
                  </a:lnTo>
                  <a:lnTo>
                    <a:pt x="571" y="470"/>
                  </a:lnTo>
                  <a:lnTo>
                    <a:pt x="570" y="467"/>
                  </a:lnTo>
                  <a:lnTo>
                    <a:pt x="570" y="464"/>
                  </a:lnTo>
                  <a:lnTo>
                    <a:pt x="570" y="404"/>
                  </a:lnTo>
                  <a:lnTo>
                    <a:pt x="570" y="402"/>
                  </a:lnTo>
                  <a:lnTo>
                    <a:pt x="571" y="398"/>
                  </a:lnTo>
                  <a:lnTo>
                    <a:pt x="572" y="396"/>
                  </a:lnTo>
                  <a:lnTo>
                    <a:pt x="574" y="394"/>
                  </a:lnTo>
                  <a:lnTo>
                    <a:pt x="576" y="392"/>
                  </a:lnTo>
                  <a:lnTo>
                    <a:pt x="578" y="391"/>
                  </a:lnTo>
                  <a:lnTo>
                    <a:pt x="581" y="390"/>
                  </a:lnTo>
                  <a:lnTo>
                    <a:pt x="583" y="389"/>
                  </a:lnTo>
                  <a:lnTo>
                    <a:pt x="628" y="389"/>
                  </a:lnTo>
                  <a:lnTo>
                    <a:pt x="628" y="129"/>
                  </a:lnTo>
                  <a:lnTo>
                    <a:pt x="629" y="126"/>
                  </a:lnTo>
                  <a:lnTo>
                    <a:pt x="631" y="123"/>
                  </a:lnTo>
                  <a:lnTo>
                    <a:pt x="632" y="121"/>
                  </a:lnTo>
                  <a:lnTo>
                    <a:pt x="634" y="118"/>
                  </a:lnTo>
                  <a:lnTo>
                    <a:pt x="636" y="117"/>
                  </a:lnTo>
                  <a:lnTo>
                    <a:pt x="638" y="115"/>
                  </a:lnTo>
                  <a:lnTo>
                    <a:pt x="641" y="114"/>
                  </a:lnTo>
                  <a:lnTo>
                    <a:pt x="643" y="114"/>
                  </a:lnTo>
                  <a:lnTo>
                    <a:pt x="647" y="114"/>
                  </a:lnTo>
                  <a:lnTo>
                    <a:pt x="650" y="115"/>
                  </a:lnTo>
                  <a:lnTo>
                    <a:pt x="652" y="117"/>
                  </a:lnTo>
                  <a:lnTo>
                    <a:pt x="654" y="118"/>
                  </a:lnTo>
                  <a:lnTo>
                    <a:pt x="656" y="121"/>
                  </a:lnTo>
                  <a:lnTo>
                    <a:pt x="657" y="123"/>
                  </a:lnTo>
                  <a:lnTo>
                    <a:pt x="658" y="127"/>
                  </a:lnTo>
                  <a:lnTo>
                    <a:pt x="658" y="129"/>
                  </a:lnTo>
                  <a:lnTo>
                    <a:pt x="658" y="389"/>
                  </a:lnTo>
                  <a:lnTo>
                    <a:pt x="703" y="389"/>
                  </a:lnTo>
                  <a:lnTo>
                    <a:pt x="706" y="390"/>
                  </a:lnTo>
                  <a:lnTo>
                    <a:pt x="710" y="391"/>
                  </a:lnTo>
                  <a:lnTo>
                    <a:pt x="712" y="392"/>
                  </a:lnTo>
                  <a:lnTo>
                    <a:pt x="714" y="394"/>
                  </a:lnTo>
                  <a:lnTo>
                    <a:pt x="716" y="396"/>
                  </a:lnTo>
                  <a:lnTo>
                    <a:pt x="717" y="398"/>
                  </a:lnTo>
                  <a:lnTo>
                    <a:pt x="718" y="402"/>
                  </a:lnTo>
                  <a:lnTo>
                    <a:pt x="718" y="404"/>
                  </a:lnTo>
                  <a:lnTo>
                    <a:pt x="718" y="464"/>
                  </a:lnTo>
                  <a:close/>
                  <a:moveTo>
                    <a:pt x="643" y="763"/>
                  </a:moveTo>
                  <a:lnTo>
                    <a:pt x="638" y="762"/>
                  </a:lnTo>
                  <a:lnTo>
                    <a:pt x="632" y="762"/>
                  </a:lnTo>
                  <a:lnTo>
                    <a:pt x="626" y="760"/>
                  </a:lnTo>
                  <a:lnTo>
                    <a:pt x="621" y="758"/>
                  </a:lnTo>
                  <a:lnTo>
                    <a:pt x="616" y="756"/>
                  </a:lnTo>
                  <a:lnTo>
                    <a:pt x="610" y="753"/>
                  </a:lnTo>
                  <a:lnTo>
                    <a:pt x="606" y="749"/>
                  </a:lnTo>
                  <a:lnTo>
                    <a:pt x="602" y="745"/>
                  </a:lnTo>
                  <a:lnTo>
                    <a:pt x="597" y="741"/>
                  </a:lnTo>
                  <a:lnTo>
                    <a:pt x="594" y="737"/>
                  </a:lnTo>
                  <a:lnTo>
                    <a:pt x="591" y="731"/>
                  </a:lnTo>
                  <a:lnTo>
                    <a:pt x="589" y="727"/>
                  </a:lnTo>
                  <a:lnTo>
                    <a:pt x="587" y="720"/>
                  </a:lnTo>
                  <a:lnTo>
                    <a:pt x="586" y="715"/>
                  </a:lnTo>
                  <a:lnTo>
                    <a:pt x="584" y="710"/>
                  </a:lnTo>
                  <a:lnTo>
                    <a:pt x="583" y="703"/>
                  </a:lnTo>
                  <a:lnTo>
                    <a:pt x="584" y="697"/>
                  </a:lnTo>
                  <a:lnTo>
                    <a:pt x="586" y="692"/>
                  </a:lnTo>
                  <a:lnTo>
                    <a:pt x="587" y="685"/>
                  </a:lnTo>
                  <a:lnTo>
                    <a:pt x="589" y="680"/>
                  </a:lnTo>
                  <a:lnTo>
                    <a:pt x="591" y="674"/>
                  </a:lnTo>
                  <a:lnTo>
                    <a:pt x="594" y="670"/>
                  </a:lnTo>
                  <a:lnTo>
                    <a:pt x="597" y="665"/>
                  </a:lnTo>
                  <a:lnTo>
                    <a:pt x="602" y="661"/>
                  </a:lnTo>
                  <a:lnTo>
                    <a:pt x="606" y="657"/>
                  </a:lnTo>
                  <a:lnTo>
                    <a:pt x="610" y="653"/>
                  </a:lnTo>
                  <a:lnTo>
                    <a:pt x="616" y="651"/>
                  </a:lnTo>
                  <a:lnTo>
                    <a:pt x="621" y="648"/>
                  </a:lnTo>
                  <a:lnTo>
                    <a:pt x="626" y="646"/>
                  </a:lnTo>
                  <a:lnTo>
                    <a:pt x="632" y="645"/>
                  </a:lnTo>
                  <a:lnTo>
                    <a:pt x="638" y="643"/>
                  </a:lnTo>
                  <a:lnTo>
                    <a:pt x="643" y="643"/>
                  </a:lnTo>
                  <a:lnTo>
                    <a:pt x="650" y="643"/>
                  </a:lnTo>
                  <a:lnTo>
                    <a:pt x="656" y="645"/>
                  </a:lnTo>
                  <a:lnTo>
                    <a:pt x="662" y="646"/>
                  </a:lnTo>
                  <a:lnTo>
                    <a:pt x="667" y="648"/>
                  </a:lnTo>
                  <a:lnTo>
                    <a:pt x="672" y="651"/>
                  </a:lnTo>
                  <a:lnTo>
                    <a:pt x="678" y="653"/>
                  </a:lnTo>
                  <a:lnTo>
                    <a:pt x="682" y="657"/>
                  </a:lnTo>
                  <a:lnTo>
                    <a:pt x="686" y="661"/>
                  </a:lnTo>
                  <a:lnTo>
                    <a:pt x="690" y="665"/>
                  </a:lnTo>
                  <a:lnTo>
                    <a:pt x="694" y="670"/>
                  </a:lnTo>
                  <a:lnTo>
                    <a:pt x="697" y="674"/>
                  </a:lnTo>
                  <a:lnTo>
                    <a:pt x="699" y="680"/>
                  </a:lnTo>
                  <a:lnTo>
                    <a:pt x="701" y="685"/>
                  </a:lnTo>
                  <a:lnTo>
                    <a:pt x="702" y="692"/>
                  </a:lnTo>
                  <a:lnTo>
                    <a:pt x="703" y="697"/>
                  </a:lnTo>
                  <a:lnTo>
                    <a:pt x="703" y="703"/>
                  </a:lnTo>
                  <a:lnTo>
                    <a:pt x="703" y="710"/>
                  </a:lnTo>
                  <a:lnTo>
                    <a:pt x="702" y="715"/>
                  </a:lnTo>
                  <a:lnTo>
                    <a:pt x="701" y="720"/>
                  </a:lnTo>
                  <a:lnTo>
                    <a:pt x="699" y="727"/>
                  </a:lnTo>
                  <a:lnTo>
                    <a:pt x="697" y="731"/>
                  </a:lnTo>
                  <a:lnTo>
                    <a:pt x="694" y="737"/>
                  </a:lnTo>
                  <a:lnTo>
                    <a:pt x="690" y="741"/>
                  </a:lnTo>
                  <a:lnTo>
                    <a:pt x="686" y="745"/>
                  </a:lnTo>
                  <a:lnTo>
                    <a:pt x="682" y="749"/>
                  </a:lnTo>
                  <a:lnTo>
                    <a:pt x="678" y="753"/>
                  </a:lnTo>
                  <a:lnTo>
                    <a:pt x="672" y="756"/>
                  </a:lnTo>
                  <a:lnTo>
                    <a:pt x="667" y="758"/>
                  </a:lnTo>
                  <a:lnTo>
                    <a:pt x="662" y="760"/>
                  </a:lnTo>
                  <a:lnTo>
                    <a:pt x="656" y="762"/>
                  </a:lnTo>
                  <a:lnTo>
                    <a:pt x="650" y="762"/>
                  </a:lnTo>
                  <a:lnTo>
                    <a:pt x="643" y="763"/>
                  </a:lnTo>
                  <a:close/>
                  <a:moveTo>
                    <a:pt x="540" y="284"/>
                  </a:moveTo>
                  <a:lnTo>
                    <a:pt x="538" y="287"/>
                  </a:lnTo>
                  <a:lnTo>
                    <a:pt x="537" y="290"/>
                  </a:lnTo>
                  <a:lnTo>
                    <a:pt x="536" y="294"/>
                  </a:lnTo>
                  <a:lnTo>
                    <a:pt x="534" y="296"/>
                  </a:lnTo>
                  <a:lnTo>
                    <a:pt x="532" y="297"/>
                  </a:lnTo>
                  <a:lnTo>
                    <a:pt x="530" y="298"/>
                  </a:lnTo>
                  <a:lnTo>
                    <a:pt x="527" y="299"/>
                  </a:lnTo>
                  <a:lnTo>
                    <a:pt x="525" y="299"/>
                  </a:lnTo>
                  <a:lnTo>
                    <a:pt x="480" y="299"/>
                  </a:lnTo>
                  <a:lnTo>
                    <a:pt x="480" y="543"/>
                  </a:lnTo>
                  <a:lnTo>
                    <a:pt x="479" y="546"/>
                  </a:lnTo>
                  <a:lnTo>
                    <a:pt x="479" y="549"/>
                  </a:lnTo>
                  <a:lnTo>
                    <a:pt x="476" y="551"/>
                  </a:lnTo>
                  <a:lnTo>
                    <a:pt x="475" y="554"/>
                  </a:lnTo>
                  <a:lnTo>
                    <a:pt x="472" y="556"/>
                  </a:lnTo>
                  <a:lnTo>
                    <a:pt x="470" y="557"/>
                  </a:lnTo>
                  <a:lnTo>
                    <a:pt x="467" y="558"/>
                  </a:lnTo>
                  <a:lnTo>
                    <a:pt x="465" y="558"/>
                  </a:lnTo>
                  <a:lnTo>
                    <a:pt x="461" y="558"/>
                  </a:lnTo>
                  <a:lnTo>
                    <a:pt x="458" y="557"/>
                  </a:lnTo>
                  <a:lnTo>
                    <a:pt x="456" y="556"/>
                  </a:lnTo>
                  <a:lnTo>
                    <a:pt x="454" y="554"/>
                  </a:lnTo>
                  <a:lnTo>
                    <a:pt x="452" y="551"/>
                  </a:lnTo>
                  <a:lnTo>
                    <a:pt x="451" y="549"/>
                  </a:lnTo>
                  <a:lnTo>
                    <a:pt x="450" y="546"/>
                  </a:lnTo>
                  <a:lnTo>
                    <a:pt x="450" y="543"/>
                  </a:lnTo>
                  <a:lnTo>
                    <a:pt x="450" y="299"/>
                  </a:lnTo>
                  <a:lnTo>
                    <a:pt x="405" y="299"/>
                  </a:lnTo>
                  <a:lnTo>
                    <a:pt x="402" y="299"/>
                  </a:lnTo>
                  <a:lnTo>
                    <a:pt x="398" y="298"/>
                  </a:lnTo>
                  <a:lnTo>
                    <a:pt x="396" y="297"/>
                  </a:lnTo>
                  <a:lnTo>
                    <a:pt x="394" y="296"/>
                  </a:lnTo>
                  <a:lnTo>
                    <a:pt x="392" y="294"/>
                  </a:lnTo>
                  <a:lnTo>
                    <a:pt x="391" y="290"/>
                  </a:lnTo>
                  <a:lnTo>
                    <a:pt x="390" y="287"/>
                  </a:lnTo>
                  <a:lnTo>
                    <a:pt x="390" y="284"/>
                  </a:lnTo>
                  <a:lnTo>
                    <a:pt x="390" y="225"/>
                  </a:lnTo>
                  <a:lnTo>
                    <a:pt x="390" y="222"/>
                  </a:lnTo>
                  <a:lnTo>
                    <a:pt x="391" y="219"/>
                  </a:lnTo>
                  <a:lnTo>
                    <a:pt x="392" y="217"/>
                  </a:lnTo>
                  <a:lnTo>
                    <a:pt x="394" y="214"/>
                  </a:lnTo>
                  <a:lnTo>
                    <a:pt x="396" y="212"/>
                  </a:lnTo>
                  <a:lnTo>
                    <a:pt x="398" y="211"/>
                  </a:lnTo>
                  <a:lnTo>
                    <a:pt x="402" y="210"/>
                  </a:lnTo>
                  <a:lnTo>
                    <a:pt x="405" y="210"/>
                  </a:lnTo>
                  <a:lnTo>
                    <a:pt x="450" y="210"/>
                  </a:lnTo>
                  <a:lnTo>
                    <a:pt x="450" y="129"/>
                  </a:lnTo>
                  <a:lnTo>
                    <a:pt x="450" y="126"/>
                  </a:lnTo>
                  <a:lnTo>
                    <a:pt x="451" y="123"/>
                  </a:lnTo>
                  <a:lnTo>
                    <a:pt x="452" y="121"/>
                  </a:lnTo>
                  <a:lnTo>
                    <a:pt x="454" y="118"/>
                  </a:lnTo>
                  <a:lnTo>
                    <a:pt x="456" y="117"/>
                  </a:lnTo>
                  <a:lnTo>
                    <a:pt x="458" y="115"/>
                  </a:lnTo>
                  <a:lnTo>
                    <a:pt x="461" y="114"/>
                  </a:lnTo>
                  <a:lnTo>
                    <a:pt x="465" y="114"/>
                  </a:lnTo>
                  <a:lnTo>
                    <a:pt x="467" y="114"/>
                  </a:lnTo>
                  <a:lnTo>
                    <a:pt x="470" y="115"/>
                  </a:lnTo>
                  <a:lnTo>
                    <a:pt x="472" y="117"/>
                  </a:lnTo>
                  <a:lnTo>
                    <a:pt x="475" y="118"/>
                  </a:lnTo>
                  <a:lnTo>
                    <a:pt x="476" y="121"/>
                  </a:lnTo>
                  <a:lnTo>
                    <a:pt x="479" y="123"/>
                  </a:lnTo>
                  <a:lnTo>
                    <a:pt x="479" y="127"/>
                  </a:lnTo>
                  <a:lnTo>
                    <a:pt x="480" y="129"/>
                  </a:lnTo>
                  <a:lnTo>
                    <a:pt x="480" y="210"/>
                  </a:lnTo>
                  <a:lnTo>
                    <a:pt x="525" y="210"/>
                  </a:lnTo>
                  <a:lnTo>
                    <a:pt x="527" y="210"/>
                  </a:lnTo>
                  <a:lnTo>
                    <a:pt x="530" y="211"/>
                  </a:lnTo>
                  <a:lnTo>
                    <a:pt x="532" y="212"/>
                  </a:lnTo>
                  <a:lnTo>
                    <a:pt x="534" y="214"/>
                  </a:lnTo>
                  <a:lnTo>
                    <a:pt x="536" y="217"/>
                  </a:lnTo>
                  <a:lnTo>
                    <a:pt x="537" y="219"/>
                  </a:lnTo>
                  <a:lnTo>
                    <a:pt x="538" y="222"/>
                  </a:lnTo>
                  <a:lnTo>
                    <a:pt x="540" y="225"/>
                  </a:lnTo>
                  <a:lnTo>
                    <a:pt x="540" y="284"/>
                  </a:lnTo>
                  <a:close/>
                  <a:moveTo>
                    <a:pt x="465" y="763"/>
                  </a:moveTo>
                  <a:lnTo>
                    <a:pt x="458" y="762"/>
                  </a:lnTo>
                  <a:lnTo>
                    <a:pt x="452" y="762"/>
                  </a:lnTo>
                  <a:lnTo>
                    <a:pt x="446" y="760"/>
                  </a:lnTo>
                  <a:lnTo>
                    <a:pt x="441" y="758"/>
                  </a:lnTo>
                  <a:lnTo>
                    <a:pt x="436" y="756"/>
                  </a:lnTo>
                  <a:lnTo>
                    <a:pt x="430" y="753"/>
                  </a:lnTo>
                  <a:lnTo>
                    <a:pt x="426" y="749"/>
                  </a:lnTo>
                  <a:lnTo>
                    <a:pt x="422" y="745"/>
                  </a:lnTo>
                  <a:lnTo>
                    <a:pt x="419" y="741"/>
                  </a:lnTo>
                  <a:lnTo>
                    <a:pt x="414" y="737"/>
                  </a:lnTo>
                  <a:lnTo>
                    <a:pt x="412" y="731"/>
                  </a:lnTo>
                  <a:lnTo>
                    <a:pt x="409" y="727"/>
                  </a:lnTo>
                  <a:lnTo>
                    <a:pt x="407" y="720"/>
                  </a:lnTo>
                  <a:lnTo>
                    <a:pt x="406" y="715"/>
                  </a:lnTo>
                  <a:lnTo>
                    <a:pt x="405" y="710"/>
                  </a:lnTo>
                  <a:lnTo>
                    <a:pt x="405" y="703"/>
                  </a:lnTo>
                  <a:lnTo>
                    <a:pt x="405" y="697"/>
                  </a:lnTo>
                  <a:lnTo>
                    <a:pt x="406" y="692"/>
                  </a:lnTo>
                  <a:lnTo>
                    <a:pt x="407" y="685"/>
                  </a:lnTo>
                  <a:lnTo>
                    <a:pt x="409" y="680"/>
                  </a:lnTo>
                  <a:lnTo>
                    <a:pt x="412" y="674"/>
                  </a:lnTo>
                  <a:lnTo>
                    <a:pt x="414" y="670"/>
                  </a:lnTo>
                  <a:lnTo>
                    <a:pt x="419" y="665"/>
                  </a:lnTo>
                  <a:lnTo>
                    <a:pt x="422" y="661"/>
                  </a:lnTo>
                  <a:lnTo>
                    <a:pt x="426" y="657"/>
                  </a:lnTo>
                  <a:lnTo>
                    <a:pt x="430" y="653"/>
                  </a:lnTo>
                  <a:lnTo>
                    <a:pt x="436" y="651"/>
                  </a:lnTo>
                  <a:lnTo>
                    <a:pt x="441" y="648"/>
                  </a:lnTo>
                  <a:lnTo>
                    <a:pt x="446" y="646"/>
                  </a:lnTo>
                  <a:lnTo>
                    <a:pt x="452" y="645"/>
                  </a:lnTo>
                  <a:lnTo>
                    <a:pt x="458" y="643"/>
                  </a:lnTo>
                  <a:lnTo>
                    <a:pt x="465" y="643"/>
                  </a:lnTo>
                  <a:lnTo>
                    <a:pt x="470" y="643"/>
                  </a:lnTo>
                  <a:lnTo>
                    <a:pt x="476" y="645"/>
                  </a:lnTo>
                  <a:lnTo>
                    <a:pt x="482" y="646"/>
                  </a:lnTo>
                  <a:lnTo>
                    <a:pt x="487" y="648"/>
                  </a:lnTo>
                  <a:lnTo>
                    <a:pt x="492" y="651"/>
                  </a:lnTo>
                  <a:lnTo>
                    <a:pt x="498" y="653"/>
                  </a:lnTo>
                  <a:lnTo>
                    <a:pt x="502" y="657"/>
                  </a:lnTo>
                  <a:lnTo>
                    <a:pt x="506" y="661"/>
                  </a:lnTo>
                  <a:lnTo>
                    <a:pt x="511" y="665"/>
                  </a:lnTo>
                  <a:lnTo>
                    <a:pt x="514" y="670"/>
                  </a:lnTo>
                  <a:lnTo>
                    <a:pt x="517" y="674"/>
                  </a:lnTo>
                  <a:lnTo>
                    <a:pt x="519" y="680"/>
                  </a:lnTo>
                  <a:lnTo>
                    <a:pt x="521" y="685"/>
                  </a:lnTo>
                  <a:lnTo>
                    <a:pt x="522" y="692"/>
                  </a:lnTo>
                  <a:lnTo>
                    <a:pt x="524" y="697"/>
                  </a:lnTo>
                  <a:lnTo>
                    <a:pt x="525" y="703"/>
                  </a:lnTo>
                  <a:lnTo>
                    <a:pt x="524" y="710"/>
                  </a:lnTo>
                  <a:lnTo>
                    <a:pt x="522" y="715"/>
                  </a:lnTo>
                  <a:lnTo>
                    <a:pt x="521" y="720"/>
                  </a:lnTo>
                  <a:lnTo>
                    <a:pt x="519" y="727"/>
                  </a:lnTo>
                  <a:lnTo>
                    <a:pt x="517" y="731"/>
                  </a:lnTo>
                  <a:lnTo>
                    <a:pt x="514" y="737"/>
                  </a:lnTo>
                  <a:lnTo>
                    <a:pt x="511" y="741"/>
                  </a:lnTo>
                  <a:lnTo>
                    <a:pt x="506" y="745"/>
                  </a:lnTo>
                  <a:lnTo>
                    <a:pt x="502" y="749"/>
                  </a:lnTo>
                  <a:lnTo>
                    <a:pt x="498" y="753"/>
                  </a:lnTo>
                  <a:lnTo>
                    <a:pt x="492" y="756"/>
                  </a:lnTo>
                  <a:lnTo>
                    <a:pt x="487" y="758"/>
                  </a:lnTo>
                  <a:lnTo>
                    <a:pt x="482" y="760"/>
                  </a:lnTo>
                  <a:lnTo>
                    <a:pt x="476" y="762"/>
                  </a:lnTo>
                  <a:lnTo>
                    <a:pt x="470" y="762"/>
                  </a:lnTo>
                  <a:lnTo>
                    <a:pt x="465" y="763"/>
                  </a:lnTo>
                  <a:close/>
                  <a:moveTo>
                    <a:pt x="330" y="404"/>
                  </a:moveTo>
                  <a:lnTo>
                    <a:pt x="330" y="407"/>
                  </a:lnTo>
                  <a:lnTo>
                    <a:pt x="329" y="410"/>
                  </a:lnTo>
                  <a:lnTo>
                    <a:pt x="328" y="412"/>
                  </a:lnTo>
                  <a:lnTo>
                    <a:pt x="326" y="414"/>
                  </a:lnTo>
                  <a:lnTo>
                    <a:pt x="323" y="417"/>
                  </a:lnTo>
                  <a:lnTo>
                    <a:pt x="320" y="418"/>
                  </a:lnTo>
                  <a:lnTo>
                    <a:pt x="318" y="419"/>
                  </a:lnTo>
                  <a:lnTo>
                    <a:pt x="315" y="419"/>
                  </a:lnTo>
                  <a:lnTo>
                    <a:pt x="270" y="419"/>
                  </a:lnTo>
                  <a:lnTo>
                    <a:pt x="270" y="543"/>
                  </a:lnTo>
                  <a:lnTo>
                    <a:pt x="270" y="546"/>
                  </a:lnTo>
                  <a:lnTo>
                    <a:pt x="269" y="549"/>
                  </a:lnTo>
                  <a:lnTo>
                    <a:pt x="268" y="551"/>
                  </a:lnTo>
                  <a:lnTo>
                    <a:pt x="266" y="554"/>
                  </a:lnTo>
                  <a:lnTo>
                    <a:pt x="263" y="556"/>
                  </a:lnTo>
                  <a:lnTo>
                    <a:pt x="260" y="557"/>
                  </a:lnTo>
                  <a:lnTo>
                    <a:pt x="258" y="558"/>
                  </a:lnTo>
                  <a:lnTo>
                    <a:pt x="255" y="558"/>
                  </a:lnTo>
                  <a:lnTo>
                    <a:pt x="252" y="558"/>
                  </a:lnTo>
                  <a:lnTo>
                    <a:pt x="250" y="557"/>
                  </a:lnTo>
                  <a:lnTo>
                    <a:pt x="246" y="556"/>
                  </a:lnTo>
                  <a:lnTo>
                    <a:pt x="244" y="554"/>
                  </a:lnTo>
                  <a:lnTo>
                    <a:pt x="242" y="551"/>
                  </a:lnTo>
                  <a:lnTo>
                    <a:pt x="241" y="549"/>
                  </a:lnTo>
                  <a:lnTo>
                    <a:pt x="240" y="546"/>
                  </a:lnTo>
                  <a:lnTo>
                    <a:pt x="240" y="543"/>
                  </a:lnTo>
                  <a:lnTo>
                    <a:pt x="240" y="419"/>
                  </a:lnTo>
                  <a:lnTo>
                    <a:pt x="195" y="419"/>
                  </a:lnTo>
                  <a:lnTo>
                    <a:pt x="192" y="419"/>
                  </a:lnTo>
                  <a:lnTo>
                    <a:pt x="190" y="418"/>
                  </a:lnTo>
                  <a:lnTo>
                    <a:pt x="186" y="417"/>
                  </a:lnTo>
                  <a:lnTo>
                    <a:pt x="184" y="414"/>
                  </a:lnTo>
                  <a:lnTo>
                    <a:pt x="183" y="412"/>
                  </a:lnTo>
                  <a:lnTo>
                    <a:pt x="181" y="410"/>
                  </a:lnTo>
                  <a:lnTo>
                    <a:pt x="180" y="407"/>
                  </a:lnTo>
                  <a:lnTo>
                    <a:pt x="180" y="404"/>
                  </a:lnTo>
                  <a:lnTo>
                    <a:pt x="180" y="344"/>
                  </a:lnTo>
                  <a:lnTo>
                    <a:pt x="180" y="342"/>
                  </a:lnTo>
                  <a:lnTo>
                    <a:pt x="181" y="339"/>
                  </a:lnTo>
                  <a:lnTo>
                    <a:pt x="183" y="336"/>
                  </a:lnTo>
                  <a:lnTo>
                    <a:pt x="184" y="334"/>
                  </a:lnTo>
                  <a:lnTo>
                    <a:pt x="186" y="332"/>
                  </a:lnTo>
                  <a:lnTo>
                    <a:pt x="190" y="331"/>
                  </a:lnTo>
                  <a:lnTo>
                    <a:pt x="192" y="330"/>
                  </a:lnTo>
                  <a:lnTo>
                    <a:pt x="195" y="329"/>
                  </a:lnTo>
                  <a:lnTo>
                    <a:pt x="240" y="329"/>
                  </a:lnTo>
                  <a:lnTo>
                    <a:pt x="240" y="129"/>
                  </a:lnTo>
                  <a:lnTo>
                    <a:pt x="240" y="126"/>
                  </a:lnTo>
                  <a:lnTo>
                    <a:pt x="241" y="123"/>
                  </a:lnTo>
                  <a:lnTo>
                    <a:pt x="242" y="121"/>
                  </a:lnTo>
                  <a:lnTo>
                    <a:pt x="244" y="118"/>
                  </a:lnTo>
                  <a:lnTo>
                    <a:pt x="246" y="117"/>
                  </a:lnTo>
                  <a:lnTo>
                    <a:pt x="250" y="115"/>
                  </a:lnTo>
                  <a:lnTo>
                    <a:pt x="252" y="114"/>
                  </a:lnTo>
                  <a:lnTo>
                    <a:pt x="255" y="114"/>
                  </a:lnTo>
                  <a:lnTo>
                    <a:pt x="258" y="114"/>
                  </a:lnTo>
                  <a:lnTo>
                    <a:pt x="260" y="115"/>
                  </a:lnTo>
                  <a:lnTo>
                    <a:pt x="263" y="117"/>
                  </a:lnTo>
                  <a:lnTo>
                    <a:pt x="266" y="118"/>
                  </a:lnTo>
                  <a:lnTo>
                    <a:pt x="268" y="121"/>
                  </a:lnTo>
                  <a:lnTo>
                    <a:pt x="269" y="123"/>
                  </a:lnTo>
                  <a:lnTo>
                    <a:pt x="270" y="127"/>
                  </a:lnTo>
                  <a:lnTo>
                    <a:pt x="270" y="129"/>
                  </a:lnTo>
                  <a:lnTo>
                    <a:pt x="270" y="329"/>
                  </a:lnTo>
                  <a:lnTo>
                    <a:pt x="315" y="329"/>
                  </a:lnTo>
                  <a:lnTo>
                    <a:pt x="318" y="330"/>
                  </a:lnTo>
                  <a:lnTo>
                    <a:pt x="320" y="331"/>
                  </a:lnTo>
                  <a:lnTo>
                    <a:pt x="323" y="332"/>
                  </a:lnTo>
                  <a:lnTo>
                    <a:pt x="326" y="334"/>
                  </a:lnTo>
                  <a:lnTo>
                    <a:pt x="328" y="336"/>
                  </a:lnTo>
                  <a:lnTo>
                    <a:pt x="329" y="339"/>
                  </a:lnTo>
                  <a:lnTo>
                    <a:pt x="330" y="342"/>
                  </a:lnTo>
                  <a:lnTo>
                    <a:pt x="330" y="344"/>
                  </a:lnTo>
                  <a:lnTo>
                    <a:pt x="330" y="404"/>
                  </a:lnTo>
                  <a:close/>
                  <a:moveTo>
                    <a:pt x="255" y="763"/>
                  </a:moveTo>
                  <a:lnTo>
                    <a:pt x="249" y="762"/>
                  </a:lnTo>
                  <a:lnTo>
                    <a:pt x="243" y="762"/>
                  </a:lnTo>
                  <a:lnTo>
                    <a:pt x="237" y="760"/>
                  </a:lnTo>
                  <a:lnTo>
                    <a:pt x="231" y="758"/>
                  </a:lnTo>
                  <a:lnTo>
                    <a:pt x="226" y="756"/>
                  </a:lnTo>
                  <a:lnTo>
                    <a:pt x="222" y="753"/>
                  </a:lnTo>
                  <a:lnTo>
                    <a:pt x="216" y="749"/>
                  </a:lnTo>
                  <a:lnTo>
                    <a:pt x="212" y="745"/>
                  </a:lnTo>
                  <a:lnTo>
                    <a:pt x="209" y="741"/>
                  </a:lnTo>
                  <a:lnTo>
                    <a:pt x="206" y="737"/>
                  </a:lnTo>
                  <a:lnTo>
                    <a:pt x="203" y="731"/>
                  </a:lnTo>
                  <a:lnTo>
                    <a:pt x="200" y="727"/>
                  </a:lnTo>
                  <a:lnTo>
                    <a:pt x="198" y="720"/>
                  </a:lnTo>
                  <a:lnTo>
                    <a:pt x="196" y="715"/>
                  </a:lnTo>
                  <a:lnTo>
                    <a:pt x="195" y="710"/>
                  </a:lnTo>
                  <a:lnTo>
                    <a:pt x="195" y="703"/>
                  </a:lnTo>
                  <a:lnTo>
                    <a:pt x="195" y="697"/>
                  </a:lnTo>
                  <a:lnTo>
                    <a:pt x="196" y="692"/>
                  </a:lnTo>
                  <a:lnTo>
                    <a:pt x="198" y="685"/>
                  </a:lnTo>
                  <a:lnTo>
                    <a:pt x="200" y="680"/>
                  </a:lnTo>
                  <a:lnTo>
                    <a:pt x="203" y="674"/>
                  </a:lnTo>
                  <a:lnTo>
                    <a:pt x="206" y="670"/>
                  </a:lnTo>
                  <a:lnTo>
                    <a:pt x="209" y="665"/>
                  </a:lnTo>
                  <a:lnTo>
                    <a:pt x="212" y="661"/>
                  </a:lnTo>
                  <a:lnTo>
                    <a:pt x="216" y="657"/>
                  </a:lnTo>
                  <a:lnTo>
                    <a:pt x="222" y="653"/>
                  </a:lnTo>
                  <a:lnTo>
                    <a:pt x="226" y="651"/>
                  </a:lnTo>
                  <a:lnTo>
                    <a:pt x="231" y="648"/>
                  </a:lnTo>
                  <a:lnTo>
                    <a:pt x="237" y="646"/>
                  </a:lnTo>
                  <a:lnTo>
                    <a:pt x="243" y="645"/>
                  </a:lnTo>
                  <a:lnTo>
                    <a:pt x="249" y="643"/>
                  </a:lnTo>
                  <a:lnTo>
                    <a:pt x="255" y="643"/>
                  </a:lnTo>
                  <a:lnTo>
                    <a:pt x="261" y="643"/>
                  </a:lnTo>
                  <a:lnTo>
                    <a:pt x="267" y="645"/>
                  </a:lnTo>
                  <a:lnTo>
                    <a:pt x="273" y="646"/>
                  </a:lnTo>
                  <a:lnTo>
                    <a:pt x="278" y="648"/>
                  </a:lnTo>
                  <a:lnTo>
                    <a:pt x="284" y="651"/>
                  </a:lnTo>
                  <a:lnTo>
                    <a:pt x="288" y="653"/>
                  </a:lnTo>
                  <a:lnTo>
                    <a:pt x="293" y="657"/>
                  </a:lnTo>
                  <a:lnTo>
                    <a:pt x="298" y="661"/>
                  </a:lnTo>
                  <a:lnTo>
                    <a:pt x="301" y="665"/>
                  </a:lnTo>
                  <a:lnTo>
                    <a:pt x="304" y="670"/>
                  </a:lnTo>
                  <a:lnTo>
                    <a:pt x="307" y="674"/>
                  </a:lnTo>
                  <a:lnTo>
                    <a:pt x="311" y="680"/>
                  </a:lnTo>
                  <a:lnTo>
                    <a:pt x="312" y="685"/>
                  </a:lnTo>
                  <a:lnTo>
                    <a:pt x="314" y="692"/>
                  </a:lnTo>
                  <a:lnTo>
                    <a:pt x="315" y="697"/>
                  </a:lnTo>
                  <a:lnTo>
                    <a:pt x="315" y="703"/>
                  </a:lnTo>
                  <a:lnTo>
                    <a:pt x="315" y="710"/>
                  </a:lnTo>
                  <a:lnTo>
                    <a:pt x="314" y="715"/>
                  </a:lnTo>
                  <a:lnTo>
                    <a:pt x="312" y="720"/>
                  </a:lnTo>
                  <a:lnTo>
                    <a:pt x="311" y="727"/>
                  </a:lnTo>
                  <a:lnTo>
                    <a:pt x="307" y="731"/>
                  </a:lnTo>
                  <a:lnTo>
                    <a:pt x="304" y="737"/>
                  </a:lnTo>
                  <a:lnTo>
                    <a:pt x="301" y="741"/>
                  </a:lnTo>
                  <a:lnTo>
                    <a:pt x="298" y="745"/>
                  </a:lnTo>
                  <a:lnTo>
                    <a:pt x="293" y="749"/>
                  </a:lnTo>
                  <a:lnTo>
                    <a:pt x="288" y="753"/>
                  </a:lnTo>
                  <a:lnTo>
                    <a:pt x="284" y="756"/>
                  </a:lnTo>
                  <a:lnTo>
                    <a:pt x="278" y="758"/>
                  </a:lnTo>
                  <a:lnTo>
                    <a:pt x="273" y="760"/>
                  </a:lnTo>
                  <a:lnTo>
                    <a:pt x="267" y="762"/>
                  </a:lnTo>
                  <a:lnTo>
                    <a:pt x="261" y="762"/>
                  </a:lnTo>
                  <a:lnTo>
                    <a:pt x="255" y="763"/>
                  </a:lnTo>
                  <a:close/>
                  <a:moveTo>
                    <a:pt x="883" y="0"/>
                  </a:moveTo>
                  <a:lnTo>
                    <a:pt x="15" y="0"/>
                  </a:lnTo>
                  <a:lnTo>
                    <a:pt x="13" y="0"/>
                  </a:lnTo>
                  <a:lnTo>
                    <a:pt x="10" y="2"/>
                  </a:lnTo>
                  <a:lnTo>
                    <a:pt x="8" y="3"/>
                  </a:lnTo>
                  <a:lnTo>
                    <a:pt x="6" y="5"/>
                  </a:lnTo>
                  <a:lnTo>
                    <a:pt x="3" y="7"/>
                  </a:lnTo>
                  <a:lnTo>
                    <a:pt x="2" y="10"/>
                  </a:lnTo>
                  <a:lnTo>
                    <a:pt x="1" y="12"/>
                  </a:lnTo>
                  <a:lnTo>
                    <a:pt x="0" y="15"/>
                  </a:lnTo>
                  <a:lnTo>
                    <a:pt x="0" y="883"/>
                  </a:lnTo>
                  <a:lnTo>
                    <a:pt x="1" y="886"/>
                  </a:lnTo>
                  <a:lnTo>
                    <a:pt x="2" y="888"/>
                  </a:lnTo>
                  <a:lnTo>
                    <a:pt x="3" y="892"/>
                  </a:lnTo>
                  <a:lnTo>
                    <a:pt x="6" y="894"/>
                  </a:lnTo>
                  <a:lnTo>
                    <a:pt x="8" y="895"/>
                  </a:lnTo>
                  <a:lnTo>
                    <a:pt x="10" y="897"/>
                  </a:lnTo>
                  <a:lnTo>
                    <a:pt x="13" y="897"/>
                  </a:lnTo>
                  <a:lnTo>
                    <a:pt x="15" y="898"/>
                  </a:lnTo>
                  <a:lnTo>
                    <a:pt x="883" y="898"/>
                  </a:lnTo>
                  <a:lnTo>
                    <a:pt x="886" y="897"/>
                  </a:lnTo>
                  <a:lnTo>
                    <a:pt x="888" y="897"/>
                  </a:lnTo>
                  <a:lnTo>
                    <a:pt x="892" y="895"/>
                  </a:lnTo>
                  <a:lnTo>
                    <a:pt x="894" y="894"/>
                  </a:lnTo>
                  <a:lnTo>
                    <a:pt x="896" y="892"/>
                  </a:lnTo>
                  <a:lnTo>
                    <a:pt x="897" y="888"/>
                  </a:lnTo>
                  <a:lnTo>
                    <a:pt x="898" y="886"/>
                  </a:lnTo>
                  <a:lnTo>
                    <a:pt x="898" y="883"/>
                  </a:lnTo>
                  <a:lnTo>
                    <a:pt x="898" y="15"/>
                  </a:lnTo>
                  <a:lnTo>
                    <a:pt x="898" y="12"/>
                  </a:lnTo>
                  <a:lnTo>
                    <a:pt x="897" y="10"/>
                  </a:lnTo>
                  <a:lnTo>
                    <a:pt x="896" y="7"/>
                  </a:lnTo>
                  <a:lnTo>
                    <a:pt x="894" y="5"/>
                  </a:lnTo>
                  <a:lnTo>
                    <a:pt x="892" y="3"/>
                  </a:lnTo>
                  <a:lnTo>
                    <a:pt x="888" y="2"/>
                  </a:lnTo>
                  <a:lnTo>
                    <a:pt x="886" y="0"/>
                  </a:lnTo>
                  <a:lnTo>
                    <a:pt x="883"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b="1"/>
            </a:p>
          </p:txBody>
        </p:sp>
        <p:sp>
          <p:nvSpPr>
            <p:cNvPr id="39" name="Rectangle 38">
              <a:extLst>
                <a:ext uri="{FF2B5EF4-FFF2-40B4-BE49-F238E27FC236}">
                  <a16:creationId xmlns:a16="http://schemas.microsoft.com/office/drawing/2014/main" id="{1EC9C3E7-2980-41A9-B0B1-2236802F5978}"/>
                </a:ext>
              </a:extLst>
            </p:cNvPr>
            <p:cNvSpPr/>
            <p:nvPr/>
          </p:nvSpPr>
          <p:spPr>
            <a:xfrm>
              <a:off x="9342265" y="4489514"/>
              <a:ext cx="2188782" cy="276999"/>
            </a:xfrm>
            <a:prstGeom prst="rect">
              <a:avLst/>
            </a:prstGeom>
          </p:spPr>
          <p:txBody>
            <a:bodyPr wrap="square" lIns="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1">
                  <a:solidFill>
                    <a:schemeClr val="bg1"/>
                  </a:solidFill>
                  <a:latin typeface="Book Antiqua" panose="02040602050305030304" pitchFamily="18" charset="0"/>
                </a:rPr>
                <a:t>Future Scope</a:t>
              </a:r>
            </a:p>
          </p:txBody>
        </p:sp>
      </p:grpSp>
    </p:spTree>
    <p:extLst>
      <p:ext uri="{BB962C8B-B14F-4D97-AF65-F5344CB8AC3E}">
        <p14:creationId xmlns:p14="http://schemas.microsoft.com/office/powerpoint/2010/main" val="62654119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0419B8BF-5B78-49F3-ACCE-27E7AD5ED205}"/>
              </a:ext>
            </a:extLst>
          </p:cNvPr>
          <p:cNvSpPr txBox="1"/>
          <p:nvPr/>
        </p:nvSpPr>
        <p:spPr>
          <a:xfrm>
            <a:off x="233082" y="251012"/>
            <a:ext cx="10941978" cy="523220"/>
          </a:xfrm>
          <a:prstGeom prst="rect">
            <a:avLst/>
          </a:prstGeom>
          <a:noFill/>
        </p:spPr>
        <p:txBody>
          <a:bodyPr wrap="square" rtlCol="0">
            <a:spAutoFit/>
          </a:bodyPr>
          <a:lstStyle/>
          <a:p>
            <a:r>
              <a:rPr lang="en-US" sz="2800" b="1">
                <a:latin typeface="Georgia" panose="02040502050405020303" pitchFamily="18" charset="0"/>
              </a:rPr>
              <a:t>WHY OPTIMIZATION?</a:t>
            </a:r>
          </a:p>
        </p:txBody>
      </p:sp>
      <p:grpSp>
        <p:nvGrpSpPr>
          <p:cNvPr id="3" name="Group 2">
            <a:extLst>
              <a:ext uri="{FF2B5EF4-FFF2-40B4-BE49-F238E27FC236}">
                <a16:creationId xmlns:a16="http://schemas.microsoft.com/office/drawing/2014/main" id="{D600061A-843C-4C21-9323-38EE6FABFBAF}"/>
              </a:ext>
            </a:extLst>
          </p:cNvPr>
          <p:cNvGrpSpPr/>
          <p:nvPr/>
        </p:nvGrpSpPr>
        <p:grpSpPr>
          <a:xfrm>
            <a:off x="3323619" y="841598"/>
            <a:ext cx="2706086" cy="2347779"/>
            <a:chOff x="4123177" y="2191518"/>
            <a:chExt cx="1781586" cy="2115849"/>
          </a:xfrm>
          <a:solidFill>
            <a:srgbClr val="A2CD69"/>
          </a:solidFill>
        </p:grpSpPr>
        <p:sp>
          <p:nvSpPr>
            <p:cNvPr id="8" name="Freeform 11">
              <a:extLst>
                <a:ext uri="{FF2B5EF4-FFF2-40B4-BE49-F238E27FC236}">
                  <a16:creationId xmlns:a16="http://schemas.microsoft.com/office/drawing/2014/main" id="{10733FE1-D8EB-46B4-B3CE-1AFE4E0F4DCA}"/>
                </a:ext>
              </a:extLst>
            </p:cNvPr>
            <p:cNvSpPr>
              <a:spLocks/>
            </p:cNvSpPr>
            <p:nvPr/>
          </p:nvSpPr>
          <p:spPr bwMode="auto">
            <a:xfrm rot="337377">
              <a:off x="4258058" y="2191518"/>
              <a:ext cx="1646705" cy="2115849"/>
            </a:xfrm>
            <a:custGeom>
              <a:avLst/>
              <a:gdLst>
                <a:gd name="T0" fmla="*/ 602 w 911"/>
                <a:gd name="T1" fmla="*/ 1099 h 1153"/>
                <a:gd name="T2" fmla="*/ 618 w 911"/>
                <a:gd name="T3" fmla="*/ 1021 h 1153"/>
                <a:gd name="T4" fmla="*/ 519 w 911"/>
                <a:gd name="T5" fmla="*/ 832 h 1153"/>
                <a:gd name="T6" fmla="*/ 367 w 911"/>
                <a:gd name="T7" fmla="*/ 885 h 1153"/>
                <a:gd name="T8" fmla="*/ 356 w 911"/>
                <a:gd name="T9" fmla="*/ 1074 h 1153"/>
                <a:gd name="T10" fmla="*/ 377 w 911"/>
                <a:gd name="T11" fmla="*/ 1120 h 1153"/>
                <a:gd name="T12" fmla="*/ 322 w 911"/>
                <a:gd name="T13" fmla="*/ 1129 h 1153"/>
                <a:gd name="T14" fmla="*/ 106 w 911"/>
                <a:gd name="T15" fmla="*/ 1151 h 1153"/>
                <a:gd name="T16" fmla="*/ 83 w 911"/>
                <a:gd name="T17" fmla="*/ 1133 h 1153"/>
                <a:gd name="T18" fmla="*/ 56 w 911"/>
                <a:gd name="T19" fmla="*/ 858 h 1153"/>
                <a:gd name="T20" fmla="*/ 29 w 911"/>
                <a:gd name="T21" fmla="*/ 617 h 1153"/>
                <a:gd name="T22" fmla="*/ 2 w 911"/>
                <a:gd name="T23" fmla="*/ 341 h 1153"/>
                <a:gd name="T24" fmla="*/ 23 w 911"/>
                <a:gd name="T25" fmla="*/ 323 h 1153"/>
                <a:gd name="T26" fmla="*/ 101 w 911"/>
                <a:gd name="T27" fmla="*/ 316 h 1153"/>
                <a:gd name="T28" fmla="*/ 307 w 911"/>
                <a:gd name="T29" fmla="*/ 297 h 1153"/>
                <a:gd name="T30" fmla="*/ 323 w 911"/>
                <a:gd name="T31" fmla="*/ 266 h 1153"/>
                <a:gd name="T32" fmla="*/ 278 w 911"/>
                <a:gd name="T33" fmla="*/ 166 h 1153"/>
                <a:gd name="T34" fmla="*/ 314 w 911"/>
                <a:gd name="T35" fmla="*/ 43 h 1153"/>
                <a:gd name="T36" fmla="*/ 430 w 911"/>
                <a:gd name="T37" fmla="*/ 16 h 1153"/>
                <a:gd name="T38" fmla="*/ 512 w 911"/>
                <a:gd name="T39" fmla="*/ 112 h 1153"/>
                <a:gd name="T40" fmla="*/ 506 w 911"/>
                <a:gd name="T41" fmla="*/ 214 h 1153"/>
                <a:gd name="T42" fmla="*/ 497 w 911"/>
                <a:gd name="T43" fmla="*/ 259 h 1153"/>
                <a:gd name="T44" fmla="*/ 513 w 911"/>
                <a:gd name="T45" fmla="*/ 274 h 1153"/>
                <a:gd name="T46" fmla="*/ 770 w 911"/>
                <a:gd name="T47" fmla="*/ 248 h 1153"/>
                <a:gd name="T48" fmla="*/ 812 w 911"/>
                <a:gd name="T49" fmla="*/ 244 h 1153"/>
                <a:gd name="T50" fmla="*/ 830 w 911"/>
                <a:gd name="T51" fmla="*/ 261 h 1153"/>
                <a:gd name="T52" fmla="*/ 854 w 911"/>
                <a:gd name="T53" fmla="*/ 514 h 1153"/>
                <a:gd name="T54" fmla="*/ 859 w 911"/>
                <a:gd name="T55" fmla="*/ 551 h 1153"/>
                <a:gd name="T56" fmla="*/ 754 w 911"/>
                <a:gd name="T57" fmla="*/ 532 h 1153"/>
                <a:gd name="T58" fmla="*/ 586 w 911"/>
                <a:gd name="T59" fmla="*/ 655 h 1153"/>
                <a:gd name="T60" fmla="*/ 682 w 911"/>
                <a:gd name="T61" fmla="*/ 806 h 1153"/>
                <a:gd name="T62" fmla="*/ 816 w 911"/>
                <a:gd name="T63" fmla="*/ 797 h 1153"/>
                <a:gd name="T64" fmla="*/ 880 w 911"/>
                <a:gd name="T65" fmla="*/ 768 h 1153"/>
                <a:gd name="T66" fmla="*/ 892 w 911"/>
                <a:gd name="T67" fmla="*/ 869 h 1153"/>
                <a:gd name="T68" fmla="*/ 908 w 911"/>
                <a:gd name="T69" fmla="*/ 1031 h 1153"/>
                <a:gd name="T70" fmla="*/ 909 w 911"/>
                <a:gd name="T71" fmla="*/ 1035 h 1153"/>
                <a:gd name="T72" fmla="*/ 876 w 911"/>
                <a:gd name="T73" fmla="*/ 1072 h 1153"/>
                <a:gd name="T74" fmla="*/ 714 w 911"/>
                <a:gd name="T75" fmla="*/ 1089 h 1153"/>
                <a:gd name="T76" fmla="*/ 602 w 911"/>
                <a:gd name="T77" fmla="*/ 1099 h 1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11" h="1153">
                  <a:moveTo>
                    <a:pt x="602" y="1099"/>
                  </a:moveTo>
                  <a:cubicBezTo>
                    <a:pt x="608" y="1071"/>
                    <a:pt x="612" y="1046"/>
                    <a:pt x="618" y="1021"/>
                  </a:cubicBezTo>
                  <a:cubicBezTo>
                    <a:pt x="637" y="942"/>
                    <a:pt x="598" y="858"/>
                    <a:pt x="519" y="832"/>
                  </a:cubicBezTo>
                  <a:cubicBezTo>
                    <a:pt x="460" y="813"/>
                    <a:pt x="404" y="830"/>
                    <a:pt x="367" y="885"/>
                  </a:cubicBezTo>
                  <a:cubicBezTo>
                    <a:pt x="327" y="946"/>
                    <a:pt x="323" y="1009"/>
                    <a:pt x="356" y="1074"/>
                  </a:cubicBezTo>
                  <a:cubicBezTo>
                    <a:pt x="363" y="1088"/>
                    <a:pt x="369" y="1103"/>
                    <a:pt x="377" y="1120"/>
                  </a:cubicBezTo>
                  <a:cubicBezTo>
                    <a:pt x="357" y="1124"/>
                    <a:pt x="339" y="1127"/>
                    <a:pt x="322" y="1129"/>
                  </a:cubicBezTo>
                  <a:cubicBezTo>
                    <a:pt x="250" y="1137"/>
                    <a:pt x="178" y="1144"/>
                    <a:pt x="106" y="1151"/>
                  </a:cubicBezTo>
                  <a:cubicBezTo>
                    <a:pt x="92" y="1153"/>
                    <a:pt x="85" y="1151"/>
                    <a:pt x="83" y="1133"/>
                  </a:cubicBezTo>
                  <a:cubicBezTo>
                    <a:pt x="75" y="1042"/>
                    <a:pt x="65" y="950"/>
                    <a:pt x="56" y="858"/>
                  </a:cubicBezTo>
                  <a:cubicBezTo>
                    <a:pt x="47" y="778"/>
                    <a:pt x="38" y="697"/>
                    <a:pt x="29" y="617"/>
                  </a:cubicBezTo>
                  <a:cubicBezTo>
                    <a:pt x="20" y="525"/>
                    <a:pt x="11" y="433"/>
                    <a:pt x="2" y="341"/>
                  </a:cubicBezTo>
                  <a:cubicBezTo>
                    <a:pt x="0" y="323"/>
                    <a:pt x="13" y="324"/>
                    <a:pt x="23" y="323"/>
                  </a:cubicBezTo>
                  <a:cubicBezTo>
                    <a:pt x="49" y="320"/>
                    <a:pt x="75" y="318"/>
                    <a:pt x="101" y="316"/>
                  </a:cubicBezTo>
                  <a:cubicBezTo>
                    <a:pt x="170" y="310"/>
                    <a:pt x="238" y="303"/>
                    <a:pt x="307" y="297"/>
                  </a:cubicBezTo>
                  <a:cubicBezTo>
                    <a:pt x="328" y="295"/>
                    <a:pt x="333" y="286"/>
                    <a:pt x="323" y="266"/>
                  </a:cubicBezTo>
                  <a:cubicBezTo>
                    <a:pt x="308" y="233"/>
                    <a:pt x="287" y="201"/>
                    <a:pt x="278" y="166"/>
                  </a:cubicBezTo>
                  <a:cubicBezTo>
                    <a:pt x="266" y="120"/>
                    <a:pt x="278" y="76"/>
                    <a:pt x="314" y="43"/>
                  </a:cubicBezTo>
                  <a:cubicBezTo>
                    <a:pt x="347" y="12"/>
                    <a:pt x="387" y="0"/>
                    <a:pt x="430" y="16"/>
                  </a:cubicBezTo>
                  <a:cubicBezTo>
                    <a:pt x="475" y="32"/>
                    <a:pt x="500" y="66"/>
                    <a:pt x="512" y="112"/>
                  </a:cubicBezTo>
                  <a:cubicBezTo>
                    <a:pt x="522" y="147"/>
                    <a:pt x="513" y="180"/>
                    <a:pt x="506" y="214"/>
                  </a:cubicBezTo>
                  <a:cubicBezTo>
                    <a:pt x="503" y="229"/>
                    <a:pt x="499" y="243"/>
                    <a:pt x="497" y="259"/>
                  </a:cubicBezTo>
                  <a:cubicBezTo>
                    <a:pt x="496" y="269"/>
                    <a:pt x="499" y="276"/>
                    <a:pt x="513" y="274"/>
                  </a:cubicBezTo>
                  <a:cubicBezTo>
                    <a:pt x="599" y="265"/>
                    <a:pt x="685" y="257"/>
                    <a:pt x="770" y="248"/>
                  </a:cubicBezTo>
                  <a:cubicBezTo>
                    <a:pt x="784" y="247"/>
                    <a:pt x="798" y="247"/>
                    <a:pt x="812" y="244"/>
                  </a:cubicBezTo>
                  <a:cubicBezTo>
                    <a:pt x="827" y="241"/>
                    <a:pt x="829" y="250"/>
                    <a:pt x="830" y="261"/>
                  </a:cubicBezTo>
                  <a:cubicBezTo>
                    <a:pt x="838" y="345"/>
                    <a:pt x="846" y="430"/>
                    <a:pt x="854" y="514"/>
                  </a:cubicBezTo>
                  <a:cubicBezTo>
                    <a:pt x="855" y="526"/>
                    <a:pt x="857" y="537"/>
                    <a:pt x="859" y="551"/>
                  </a:cubicBezTo>
                  <a:cubicBezTo>
                    <a:pt x="821" y="544"/>
                    <a:pt x="788" y="536"/>
                    <a:pt x="754" y="532"/>
                  </a:cubicBezTo>
                  <a:cubicBezTo>
                    <a:pt x="673" y="524"/>
                    <a:pt x="599" y="576"/>
                    <a:pt x="586" y="655"/>
                  </a:cubicBezTo>
                  <a:cubicBezTo>
                    <a:pt x="573" y="729"/>
                    <a:pt x="618" y="782"/>
                    <a:pt x="682" y="806"/>
                  </a:cubicBezTo>
                  <a:cubicBezTo>
                    <a:pt x="728" y="823"/>
                    <a:pt x="772" y="816"/>
                    <a:pt x="816" y="797"/>
                  </a:cubicBezTo>
                  <a:cubicBezTo>
                    <a:pt x="836" y="788"/>
                    <a:pt x="856" y="778"/>
                    <a:pt x="880" y="768"/>
                  </a:cubicBezTo>
                  <a:cubicBezTo>
                    <a:pt x="884" y="805"/>
                    <a:pt x="888" y="837"/>
                    <a:pt x="892" y="869"/>
                  </a:cubicBezTo>
                  <a:cubicBezTo>
                    <a:pt x="898" y="923"/>
                    <a:pt x="903" y="977"/>
                    <a:pt x="908" y="1031"/>
                  </a:cubicBezTo>
                  <a:cubicBezTo>
                    <a:pt x="908" y="1033"/>
                    <a:pt x="909" y="1034"/>
                    <a:pt x="909" y="1035"/>
                  </a:cubicBezTo>
                  <a:cubicBezTo>
                    <a:pt x="911" y="1066"/>
                    <a:pt x="906" y="1070"/>
                    <a:pt x="876" y="1072"/>
                  </a:cubicBezTo>
                  <a:cubicBezTo>
                    <a:pt x="822" y="1077"/>
                    <a:pt x="768" y="1083"/>
                    <a:pt x="714" y="1089"/>
                  </a:cubicBezTo>
                  <a:cubicBezTo>
                    <a:pt x="678" y="1092"/>
                    <a:pt x="643" y="1095"/>
                    <a:pt x="602" y="1099"/>
                  </a:cubicBezTo>
                  <a:close/>
                </a:path>
              </a:pathLst>
            </a:custGeom>
            <a:solidFill>
              <a:srgbClr val="89C04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F39"/>
                </a:solidFill>
                <a:effectLst/>
                <a:uLnTx/>
                <a:uFillTx/>
                <a:latin typeface="Calibri" panose="020F0502020204030204"/>
                <a:ea typeface="+mn-ea"/>
                <a:cs typeface="+mn-cs"/>
              </a:endParaRPr>
            </a:p>
          </p:txBody>
        </p:sp>
        <p:sp>
          <p:nvSpPr>
            <p:cNvPr id="2" name="Rectangle 1">
              <a:extLst>
                <a:ext uri="{FF2B5EF4-FFF2-40B4-BE49-F238E27FC236}">
                  <a16:creationId xmlns:a16="http://schemas.microsoft.com/office/drawing/2014/main" id="{0333FA9C-A593-415F-AAFB-70266568945D}"/>
                </a:ext>
              </a:extLst>
            </p:cNvPr>
            <p:cNvSpPr/>
            <p:nvPr/>
          </p:nvSpPr>
          <p:spPr>
            <a:xfrm>
              <a:off x="4123177" y="2955053"/>
              <a:ext cx="1648309" cy="5007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a:latin typeface="Book Antiqua" panose="02040602050305030304" pitchFamily="18" charset="0"/>
                </a:rPr>
                <a:t> Consumer</a:t>
              </a:r>
            </a:p>
            <a:p>
              <a:r>
                <a:rPr lang="en-US" sz="2400" b="1">
                  <a:latin typeface="Book Antiqua" panose="02040602050305030304" pitchFamily="18" charset="0"/>
                </a:rPr>
                <a:t>    Needs</a:t>
              </a:r>
              <a:endParaRPr lang="en-US" sz="2000" b="1">
                <a:latin typeface="Book Antiqua" panose="02040602050305030304" pitchFamily="18" charset="0"/>
              </a:endParaRPr>
            </a:p>
          </p:txBody>
        </p:sp>
      </p:grpSp>
      <p:grpSp>
        <p:nvGrpSpPr>
          <p:cNvPr id="13" name="Group 12">
            <a:extLst>
              <a:ext uri="{FF2B5EF4-FFF2-40B4-BE49-F238E27FC236}">
                <a16:creationId xmlns:a16="http://schemas.microsoft.com/office/drawing/2014/main" id="{623160A7-03A2-4FB7-89A7-8536FFBFB919}"/>
              </a:ext>
            </a:extLst>
          </p:cNvPr>
          <p:cNvGrpSpPr/>
          <p:nvPr/>
        </p:nvGrpSpPr>
        <p:grpSpPr>
          <a:xfrm rot="16200000">
            <a:off x="6719117" y="380635"/>
            <a:ext cx="2151897" cy="3699359"/>
            <a:chOff x="4258058" y="2191518"/>
            <a:chExt cx="1646705" cy="2609738"/>
          </a:xfrm>
          <a:solidFill>
            <a:srgbClr val="26859D"/>
          </a:solidFill>
        </p:grpSpPr>
        <p:sp>
          <p:nvSpPr>
            <p:cNvPr id="14" name="Freeform 11">
              <a:extLst>
                <a:ext uri="{FF2B5EF4-FFF2-40B4-BE49-F238E27FC236}">
                  <a16:creationId xmlns:a16="http://schemas.microsoft.com/office/drawing/2014/main" id="{B15EA24F-2BFB-4B57-90B8-A5127DC66776}"/>
                </a:ext>
              </a:extLst>
            </p:cNvPr>
            <p:cNvSpPr>
              <a:spLocks/>
            </p:cNvSpPr>
            <p:nvPr/>
          </p:nvSpPr>
          <p:spPr bwMode="auto">
            <a:xfrm rot="337377">
              <a:off x="4258058" y="2191518"/>
              <a:ext cx="1646705" cy="2115849"/>
            </a:xfrm>
            <a:custGeom>
              <a:avLst/>
              <a:gdLst>
                <a:gd name="T0" fmla="*/ 602 w 911"/>
                <a:gd name="T1" fmla="*/ 1099 h 1153"/>
                <a:gd name="T2" fmla="*/ 618 w 911"/>
                <a:gd name="T3" fmla="*/ 1021 h 1153"/>
                <a:gd name="T4" fmla="*/ 519 w 911"/>
                <a:gd name="T5" fmla="*/ 832 h 1153"/>
                <a:gd name="T6" fmla="*/ 367 w 911"/>
                <a:gd name="T7" fmla="*/ 885 h 1153"/>
                <a:gd name="T8" fmla="*/ 356 w 911"/>
                <a:gd name="T9" fmla="*/ 1074 h 1153"/>
                <a:gd name="T10" fmla="*/ 377 w 911"/>
                <a:gd name="T11" fmla="*/ 1120 h 1153"/>
                <a:gd name="T12" fmla="*/ 322 w 911"/>
                <a:gd name="T13" fmla="*/ 1129 h 1153"/>
                <a:gd name="T14" fmla="*/ 106 w 911"/>
                <a:gd name="T15" fmla="*/ 1151 h 1153"/>
                <a:gd name="T16" fmla="*/ 83 w 911"/>
                <a:gd name="T17" fmla="*/ 1133 h 1153"/>
                <a:gd name="T18" fmla="*/ 56 w 911"/>
                <a:gd name="T19" fmla="*/ 858 h 1153"/>
                <a:gd name="T20" fmla="*/ 29 w 911"/>
                <a:gd name="T21" fmla="*/ 617 h 1153"/>
                <a:gd name="T22" fmla="*/ 2 w 911"/>
                <a:gd name="T23" fmla="*/ 341 h 1153"/>
                <a:gd name="T24" fmla="*/ 23 w 911"/>
                <a:gd name="T25" fmla="*/ 323 h 1153"/>
                <a:gd name="T26" fmla="*/ 101 w 911"/>
                <a:gd name="T27" fmla="*/ 316 h 1153"/>
                <a:gd name="T28" fmla="*/ 307 w 911"/>
                <a:gd name="T29" fmla="*/ 297 h 1153"/>
                <a:gd name="T30" fmla="*/ 323 w 911"/>
                <a:gd name="T31" fmla="*/ 266 h 1153"/>
                <a:gd name="T32" fmla="*/ 278 w 911"/>
                <a:gd name="T33" fmla="*/ 166 h 1153"/>
                <a:gd name="T34" fmla="*/ 314 w 911"/>
                <a:gd name="T35" fmla="*/ 43 h 1153"/>
                <a:gd name="T36" fmla="*/ 430 w 911"/>
                <a:gd name="T37" fmla="*/ 16 h 1153"/>
                <a:gd name="T38" fmla="*/ 512 w 911"/>
                <a:gd name="T39" fmla="*/ 112 h 1153"/>
                <a:gd name="T40" fmla="*/ 506 w 911"/>
                <a:gd name="T41" fmla="*/ 214 h 1153"/>
                <a:gd name="T42" fmla="*/ 497 w 911"/>
                <a:gd name="T43" fmla="*/ 259 h 1153"/>
                <a:gd name="T44" fmla="*/ 513 w 911"/>
                <a:gd name="T45" fmla="*/ 274 h 1153"/>
                <a:gd name="T46" fmla="*/ 770 w 911"/>
                <a:gd name="T47" fmla="*/ 248 h 1153"/>
                <a:gd name="T48" fmla="*/ 812 w 911"/>
                <a:gd name="T49" fmla="*/ 244 h 1153"/>
                <a:gd name="T50" fmla="*/ 830 w 911"/>
                <a:gd name="T51" fmla="*/ 261 h 1153"/>
                <a:gd name="T52" fmla="*/ 854 w 911"/>
                <a:gd name="T53" fmla="*/ 514 h 1153"/>
                <a:gd name="T54" fmla="*/ 859 w 911"/>
                <a:gd name="T55" fmla="*/ 551 h 1153"/>
                <a:gd name="T56" fmla="*/ 754 w 911"/>
                <a:gd name="T57" fmla="*/ 532 h 1153"/>
                <a:gd name="T58" fmla="*/ 586 w 911"/>
                <a:gd name="T59" fmla="*/ 655 h 1153"/>
                <a:gd name="T60" fmla="*/ 682 w 911"/>
                <a:gd name="T61" fmla="*/ 806 h 1153"/>
                <a:gd name="T62" fmla="*/ 816 w 911"/>
                <a:gd name="T63" fmla="*/ 797 h 1153"/>
                <a:gd name="T64" fmla="*/ 880 w 911"/>
                <a:gd name="T65" fmla="*/ 768 h 1153"/>
                <a:gd name="T66" fmla="*/ 892 w 911"/>
                <a:gd name="T67" fmla="*/ 869 h 1153"/>
                <a:gd name="T68" fmla="*/ 908 w 911"/>
                <a:gd name="T69" fmla="*/ 1031 h 1153"/>
                <a:gd name="T70" fmla="*/ 909 w 911"/>
                <a:gd name="T71" fmla="*/ 1035 h 1153"/>
                <a:gd name="T72" fmla="*/ 876 w 911"/>
                <a:gd name="T73" fmla="*/ 1072 h 1153"/>
                <a:gd name="T74" fmla="*/ 714 w 911"/>
                <a:gd name="T75" fmla="*/ 1089 h 1153"/>
                <a:gd name="T76" fmla="*/ 602 w 911"/>
                <a:gd name="T77" fmla="*/ 1099 h 1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11" h="1153">
                  <a:moveTo>
                    <a:pt x="602" y="1099"/>
                  </a:moveTo>
                  <a:cubicBezTo>
                    <a:pt x="608" y="1071"/>
                    <a:pt x="612" y="1046"/>
                    <a:pt x="618" y="1021"/>
                  </a:cubicBezTo>
                  <a:cubicBezTo>
                    <a:pt x="637" y="942"/>
                    <a:pt x="598" y="858"/>
                    <a:pt x="519" y="832"/>
                  </a:cubicBezTo>
                  <a:cubicBezTo>
                    <a:pt x="460" y="813"/>
                    <a:pt x="404" y="830"/>
                    <a:pt x="367" y="885"/>
                  </a:cubicBezTo>
                  <a:cubicBezTo>
                    <a:pt x="327" y="946"/>
                    <a:pt x="323" y="1009"/>
                    <a:pt x="356" y="1074"/>
                  </a:cubicBezTo>
                  <a:cubicBezTo>
                    <a:pt x="363" y="1088"/>
                    <a:pt x="369" y="1103"/>
                    <a:pt x="377" y="1120"/>
                  </a:cubicBezTo>
                  <a:cubicBezTo>
                    <a:pt x="357" y="1124"/>
                    <a:pt x="339" y="1127"/>
                    <a:pt x="322" y="1129"/>
                  </a:cubicBezTo>
                  <a:cubicBezTo>
                    <a:pt x="250" y="1137"/>
                    <a:pt x="178" y="1144"/>
                    <a:pt x="106" y="1151"/>
                  </a:cubicBezTo>
                  <a:cubicBezTo>
                    <a:pt x="92" y="1153"/>
                    <a:pt x="85" y="1151"/>
                    <a:pt x="83" y="1133"/>
                  </a:cubicBezTo>
                  <a:cubicBezTo>
                    <a:pt x="75" y="1042"/>
                    <a:pt x="65" y="950"/>
                    <a:pt x="56" y="858"/>
                  </a:cubicBezTo>
                  <a:cubicBezTo>
                    <a:pt x="47" y="778"/>
                    <a:pt x="38" y="697"/>
                    <a:pt x="29" y="617"/>
                  </a:cubicBezTo>
                  <a:cubicBezTo>
                    <a:pt x="20" y="525"/>
                    <a:pt x="11" y="433"/>
                    <a:pt x="2" y="341"/>
                  </a:cubicBezTo>
                  <a:cubicBezTo>
                    <a:pt x="0" y="323"/>
                    <a:pt x="13" y="324"/>
                    <a:pt x="23" y="323"/>
                  </a:cubicBezTo>
                  <a:cubicBezTo>
                    <a:pt x="49" y="320"/>
                    <a:pt x="75" y="318"/>
                    <a:pt x="101" y="316"/>
                  </a:cubicBezTo>
                  <a:cubicBezTo>
                    <a:pt x="170" y="310"/>
                    <a:pt x="238" y="303"/>
                    <a:pt x="307" y="297"/>
                  </a:cubicBezTo>
                  <a:cubicBezTo>
                    <a:pt x="328" y="295"/>
                    <a:pt x="333" y="286"/>
                    <a:pt x="323" y="266"/>
                  </a:cubicBezTo>
                  <a:cubicBezTo>
                    <a:pt x="308" y="233"/>
                    <a:pt x="287" y="201"/>
                    <a:pt x="278" y="166"/>
                  </a:cubicBezTo>
                  <a:cubicBezTo>
                    <a:pt x="266" y="120"/>
                    <a:pt x="278" y="76"/>
                    <a:pt x="314" y="43"/>
                  </a:cubicBezTo>
                  <a:cubicBezTo>
                    <a:pt x="347" y="12"/>
                    <a:pt x="387" y="0"/>
                    <a:pt x="430" y="16"/>
                  </a:cubicBezTo>
                  <a:cubicBezTo>
                    <a:pt x="475" y="32"/>
                    <a:pt x="500" y="66"/>
                    <a:pt x="512" y="112"/>
                  </a:cubicBezTo>
                  <a:cubicBezTo>
                    <a:pt x="522" y="147"/>
                    <a:pt x="513" y="180"/>
                    <a:pt x="506" y="214"/>
                  </a:cubicBezTo>
                  <a:cubicBezTo>
                    <a:pt x="503" y="229"/>
                    <a:pt x="499" y="243"/>
                    <a:pt x="497" y="259"/>
                  </a:cubicBezTo>
                  <a:cubicBezTo>
                    <a:pt x="496" y="269"/>
                    <a:pt x="499" y="276"/>
                    <a:pt x="513" y="274"/>
                  </a:cubicBezTo>
                  <a:cubicBezTo>
                    <a:pt x="599" y="265"/>
                    <a:pt x="685" y="257"/>
                    <a:pt x="770" y="248"/>
                  </a:cubicBezTo>
                  <a:cubicBezTo>
                    <a:pt x="784" y="247"/>
                    <a:pt x="798" y="247"/>
                    <a:pt x="812" y="244"/>
                  </a:cubicBezTo>
                  <a:cubicBezTo>
                    <a:pt x="827" y="241"/>
                    <a:pt x="829" y="250"/>
                    <a:pt x="830" y="261"/>
                  </a:cubicBezTo>
                  <a:cubicBezTo>
                    <a:pt x="838" y="345"/>
                    <a:pt x="846" y="430"/>
                    <a:pt x="854" y="514"/>
                  </a:cubicBezTo>
                  <a:cubicBezTo>
                    <a:pt x="855" y="526"/>
                    <a:pt x="857" y="537"/>
                    <a:pt x="859" y="551"/>
                  </a:cubicBezTo>
                  <a:cubicBezTo>
                    <a:pt x="821" y="544"/>
                    <a:pt x="788" y="536"/>
                    <a:pt x="754" y="532"/>
                  </a:cubicBezTo>
                  <a:cubicBezTo>
                    <a:pt x="673" y="524"/>
                    <a:pt x="599" y="576"/>
                    <a:pt x="586" y="655"/>
                  </a:cubicBezTo>
                  <a:cubicBezTo>
                    <a:pt x="573" y="729"/>
                    <a:pt x="618" y="782"/>
                    <a:pt x="682" y="806"/>
                  </a:cubicBezTo>
                  <a:cubicBezTo>
                    <a:pt x="728" y="823"/>
                    <a:pt x="772" y="816"/>
                    <a:pt x="816" y="797"/>
                  </a:cubicBezTo>
                  <a:cubicBezTo>
                    <a:pt x="836" y="788"/>
                    <a:pt x="856" y="778"/>
                    <a:pt x="880" y="768"/>
                  </a:cubicBezTo>
                  <a:cubicBezTo>
                    <a:pt x="884" y="805"/>
                    <a:pt x="888" y="837"/>
                    <a:pt x="892" y="869"/>
                  </a:cubicBezTo>
                  <a:cubicBezTo>
                    <a:pt x="898" y="923"/>
                    <a:pt x="903" y="977"/>
                    <a:pt x="908" y="1031"/>
                  </a:cubicBezTo>
                  <a:cubicBezTo>
                    <a:pt x="908" y="1033"/>
                    <a:pt x="909" y="1034"/>
                    <a:pt x="909" y="1035"/>
                  </a:cubicBezTo>
                  <a:cubicBezTo>
                    <a:pt x="911" y="1066"/>
                    <a:pt x="906" y="1070"/>
                    <a:pt x="876" y="1072"/>
                  </a:cubicBezTo>
                  <a:cubicBezTo>
                    <a:pt x="822" y="1077"/>
                    <a:pt x="768" y="1083"/>
                    <a:pt x="714" y="1089"/>
                  </a:cubicBezTo>
                  <a:cubicBezTo>
                    <a:pt x="678" y="1092"/>
                    <a:pt x="643" y="1095"/>
                    <a:pt x="602" y="1099"/>
                  </a:cubicBezTo>
                  <a:close/>
                </a:path>
              </a:pathLst>
            </a:custGeom>
            <a:solidFill>
              <a:srgbClr val="B7491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F39"/>
                </a:solidFill>
                <a:effectLst/>
                <a:uLnTx/>
                <a:uFillTx/>
                <a:latin typeface="Calibri" panose="020F0502020204030204"/>
                <a:ea typeface="+mn-ea"/>
                <a:cs typeface="+mn-cs"/>
              </a:endParaRPr>
            </a:p>
          </p:txBody>
        </p:sp>
        <p:sp>
          <p:nvSpPr>
            <p:cNvPr id="15" name="Rectangle 14">
              <a:extLst>
                <a:ext uri="{FF2B5EF4-FFF2-40B4-BE49-F238E27FC236}">
                  <a16:creationId xmlns:a16="http://schemas.microsoft.com/office/drawing/2014/main" id="{11B4164A-246A-4348-BCAC-BF75CF956572}"/>
                </a:ext>
              </a:extLst>
            </p:cNvPr>
            <p:cNvSpPr/>
            <p:nvPr/>
          </p:nvSpPr>
          <p:spPr>
            <a:xfrm rot="5400000">
              <a:off x="3650919" y="3248452"/>
              <a:ext cx="2536730" cy="5688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b="1">
                  <a:latin typeface="Book Antiqua" panose="02040602050305030304" pitchFamily="18" charset="0"/>
                </a:rPr>
                <a:t>Optimized     </a:t>
              </a:r>
            </a:p>
            <a:p>
              <a:r>
                <a:rPr lang="en-US" sz="2400" b="1">
                  <a:latin typeface="Book Antiqua" panose="02040602050305030304" pitchFamily="18" charset="0"/>
                </a:rPr>
                <a:t>        Solution</a:t>
              </a:r>
              <a:endParaRPr lang="en-US" sz="2000" b="1">
                <a:latin typeface="Book Antiqua" panose="02040602050305030304" pitchFamily="18" charset="0"/>
              </a:endParaRPr>
            </a:p>
          </p:txBody>
        </p:sp>
      </p:grpSp>
      <p:sp>
        <p:nvSpPr>
          <p:cNvPr id="17" name="Rectangle 16">
            <a:extLst>
              <a:ext uri="{FF2B5EF4-FFF2-40B4-BE49-F238E27FC236}">
                <a16:creationId xmlns:a16="http://schemas.microsoft.com/office/drawing/2014/main" id="{A4405A10-224D-4BD5-B0B2-4BF6258924BC}"/>
              </a:ext>
            </a:extLst>
          </p:cNvPr>
          <p:cNvSpPr/>
          <p:nvPr/>
        </p:nvSpPr>
        <p:spPr>
          <a:xfrm>
            <a:off x="2070740" y="5553738"/>
            <a:ext cx="2645276" cy="677108"/>
          </a:xfrm>
          <a:prstGeom prst="rect">
            <a:avLst/>
          </a:prstGeom>
        </p:spPr>
        <p:txBody>
          <a:bodyPr wrap="none">
            <a:spAutoFit/>
          </a:bodyPr>
          <a:lstStyle/>
          <a:p>
            <a:pPr marL="285750" indent="-285750">
              <a:buFont typeface="Arial" panose="020B0604020202020204" pitchFamily="34" charset="0"/>
              <a:buChar char="•"/>
            </a:pPr>
            <a:r>
              <a:rPr lang="en-US" sz="2000" b="1">
                <a:latin typeface="Book Antiqua" panose="02040602050305030304" pitchFamily="18" charset="0"/>
              </a:rPr>
              <a:t>Maximize revenue</a:t>
            </a:r>
          </a:p>
          <a:p>
            <a:pPr algn="ctr"/>
            <a:endParaRPr lang="en-US" b="1">
              <a:latin typeface="Book Antiqua" panose="02040602050305030304" pitchFamily="18" charset="0"/>
            </a:endParaRPr>
          </a:p>
        </p:txBody>
      </p:sp>
      <p:grpSp>
        <p:nvGrpSpPr>
          <p:cNvPr id="30" name="Group 29">
            <a:extLst>
              <a:ext uri="{FF2B5EF4-FFF2-40B4-BE49-F238E27FC236}">
                <a16:creationId xmlns:a16="http://schemas.microsoft.com/office/drawing/2014/main" id="{D0C3DFD6-904C-4CC1-A21B-E124D475CEC5}"/>
              </a:ext>
            </a:extLst>
          </p:cNvPr>
          <p:cNvGrpSpPr/>
          <p:nvPr/>
        </p:nvGrpSpPr>
        <p:grpSpPr>
          <a:xfrm>
            <a:off x="1481737" y="3652935"/>
            <a:ext cx="783771" cy="859138"/>
            <a:chOff x="6829311" y="3552736"/>
            <a:chExt cx="783771" cy="859138"/>
          </a:xfrm>
        </p:grpSpPr>
        <p:sp>
          <p:nvSpPr>
            <p:cNvPr id="22" name="Oval 21">
              <a:extLst>
                <a:ext uri="{FF2B5EF4-FFF2-40B4-BE49-F238E27FC236}">
                  <a16:creationId xmlns:a16="http://schemas.microsoft.com/office/drawing/2014/main" id="{4D4EB2E6-3F43-42B1-8409-80E2955097C8}"/>
                </a:ext>
              </a:extLst>
            </p:cNvPr>
            <p:cNvSpPr/>
            <p:nvPr/>
          </p:nvSpPr>
          <p:spPr>
            <a:xfrm>
              <a:off x="6829311" y="3601306"/>
              <a:ext cx="783771" cy="783771"/>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E9F9B177-7259-449F-98A7-962BC40A96E2}"/>
                </a:ext>
              </a:extLst>
            </p:cNvPr>
            <p:cNvPicPr>
              <a:picLocks noChangeAspect="1"/>
            </p:cNvPicPr>
            <p:nvPr/>
          </p:nvPicPr>
          <p:blipFill>
            <a:blip r:embed="rId2">
              <a:clrChange>
                <a:clrFrom>
                  <a:srgbClr val="F8FAFB"/>
                </a:clrFrom>
                <a:clrTo>
                  <a:srgbClr val="F8FAFB">
                    <a:alpha val="0"/>
                  </a:srgbClr>
                </a:clrTo>
              </a:clrChange>
              <a:biLevel thresh="50000"/>
            </a:blip>
            <a:stretch>
              <a:fillRect/>
            </a:stretch>
          </p:blipFill>
          <p:spPr>
            <a:xfrm>
              <a:off x="6867008" y="3552736"/>
              <a:ext cx="708376" cy="859138"/>
            </a:xfrm>
            <a:prstGeom prst="rect">
              <a:avLst/>
            </a:prstGeom>
          </p:spPr>
        </p:pic>
      </p:grpSp>
      <p:sp>
        <p:nvSpPr>
          <p:cNvPr id="25" name="Rectangle 24">
            <a:extLst>
              <a:ext uri="{FF2B5EF4-FFF2-40B4-BE49-F238E27FC236}">
                <a16:creationId xmlns:a16="http://schemas.microsoft.com/office/drawing/2014/main" id="{02FE2E87-1AC7-4E80-9E54-6E469DD2DF3C}"/>
              </a:ext>
            </a:extLst>
          </p:cNvPr>
          <p:cNvSpPr/>
          <p:nvPr/>
        </p:nvSpPr>
        <p:spPr>
          <a:xfrm>
            <a:off x="2366550" y="3850925"/>
            <a:ext cx="2473754" cy="369332"/>
          </a:xfrm>
          <a:prstGeom prst="rect">
            <a:avLst/>
          </a:prstGeom>
        </p:spPr>
        <p:txBody>
          <a:bodyPr wrap="none">
            <a:spAutoFit/>
          </a:bodyPr>
          <a:lstStyle/>
          <a:p>
            <a:r>
              <a:rPr lang="en-US" b="1">
                <a:latin typeface="Book Antiqua" panose="02040602050305030304" pitchFamily="18" charset="0"/>
              </a:rPr>
              <a:t>Keep the prices down</a:t>
            </a:r>
          </a:p>
        </p:txBody>
      </p:sp>
      <p:grpSp>
        <p:nvGrpSpPr>
          <p:cNvPr id="29" name="Group 28">
            <a:extLst>
              <a:ext uri="{FF2B5EF4-FFF2-40B4-BE49-F238E27FC236}">
                <a16:creationId xmlns:a16="http://schemas.microsoft.com/office/drawing/2014/main" id="{CC42B5B1-9324-4775-A159-F92CD27A606E}"/>
              </a:ext>
            </a:extLst>
          </p:cNvPr>
          <p:cNvGrpSpPr/>
          <p:nvPr/>
        </p:nvGrpSpPr>
        <p:grpSpPr>
          <a:xfrm>
            <a:off x="1458491" y="5322468"/>
            <a:ext cx="783771" cy="783771"/>
            <a:chOff x="6912231" y="5302123"/>
            <a:chExt cx="783771" cy="783771"/>
          </a:xfrm>
        </p:grpSpPr>
        <p:sp>
          <p:nvSpPr>
            <p:cNvPr id="26" name="Oval 25">
              <a:extLst>
                <a:ext uri="{FF2B5EF4-FFF2-40B4-BE49-F238E27FC236}">
                  <a16:creationId xmlns:a16="http://schemas.microsoft.com/office/drawing/2014/main" id="{AE61B1AE-C15A-4AF4-9137-CE2EFE4A7149}"/>
                </a:ext>
              </a:extLst>
            </p:cNvPr>
            <p:cNvSpPr/>
            <p:nvPr/>
          </p:nvSpPr>
          <p:spPr>
            <a:xfrm>
              <a:off x="6912231" y="5302123"/>
              <a:ext cx="783771" cy="783771"/>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a:extLst>
                <a:ext uri="{FF2B5EF4-FFF2-40B4-BE49-F238E27FC236}">
                  <a16:creationId xmlns:a16="http://schemas.microsoft.com/office/drawing/2014/main" id="{A8533B12-475C-4356-8FD4-75DDE4C768D4}"/>
                </a:ext>
              </a:extLst>
            </p:cNvPr>
            <p:cNvPicPr>
              <a:picLocks noChangeAspect="1"/>
            </p:cNvPicPr>
            <p:nvPr/>
          </p:nvPicPr>
          <p:blipFill>
            <a:blip r:embed="rId3">
              <a:clrChange>
                <a:clrFrom>
                  <a:srgbClr val="F8FAFB"/>
                </a:clrFrom>
                <a:clrTo>
                  <a:srgbClr val="F8FAFB">
                    <a:alpha val="0"/>
                  </a:srgbClr>
                </a:clrTo>
              </a:clrChange>
            </a:blip>
            <a:stretch>
              <a:fillRect/>
            </a:stretch>
          </p:blipFill>
          <p:spPr>
            <a:xfrm>
              <a:off x="6924591" y="5353271"/>
              <a:ext cx="698178" cy="660266"/>
            </a:xfrm>
            <a:prstGeom prst="rect">
              <a:avLst/>
            </a:prstGeom>
          </p:spPr>
        </p:pic>
      </p:grpSp>
      <p:grpSp>
        <p:nvGrpSpPr>
          <p:cNvPr id="31" name="Group 30">
            <a:extLst>
              <a:ext uri="{FF2B5EF4-FFF2-40B4-BE49-F238E27FC236}">
                <a16:creationId xmlns:a16="http://schemas.microsoft.com/office/drawing/2014/main" id="{D3C08C51-A86B-4984-B34D-D602F9033C88}"/>
              </a:ext>
            </a:extLst>
          </p:cNvPr>
          <p:cNvGrpSpPr/>
          <p:nvPr/>
        </p:nvGrpSpPr>
        <p:grpSpPr>
          <a:xfrm>
            <a:off x="5827547" y="5317533"/>
            <a:ext cx="940171" cy="790985"/>
            <a:chOff x="533267" y="5211256"/>
            <a:chExt cx="940171" cy="790985"/>
          </a:xfrm>
        </p:grpSpPr>
        <p:sp>
          <p:nvSpPr>
            <p:cNvPr id="32" name="Oval 31">
              <a:extLst>
                <a:ext uri="{FF2B5EF4-FFF2-40B4-BE49-F238E27FC236}">
                  <a16:creationId xmlns:a16="http://schemas.microsoft.com/office/drawing/2014/main" id="{7541C707-5E7E-4DF3-A6A6-1742D5330290}"/>
                </a:ext>
              </a:extLst>
            </p:cNvPr>
            <p:cNvSpPr/>
            <p:nvPr/>
          </p:nvSpPr>
          <p:spPr>
            <a:xfrm>
              <a:off x="563617" y="5218470"/>
              <a:ext cx="783771" cy="783771"/>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3" name="Picture 32">
              <a:extLst>
                <a:ext uri="{FF2B5EF4-FFF2-40B4-BE49-F238E27FC236}">
                  <a16:creationId xmlns:a16="http://schemas.microsoft.com/office/drawing/2014/main" id="{98630052-A7BC-49CB-B607-C671A8754247}"/>
                </a:ext>
              </a:extLst>
            </p:cNvPr>
            <p:cNvPicPr>
              <a:picLocks noChangeAspect="1"/>
            </p:cNvPicPr>
            <p:nvPr/>
          </p:nvPicPr>
          <p:blipFill>
            <a:blip r:embed="rId4">
              <a:clrChange>
                <a:clrFrom>
                  <a:srgbClr val="F8FAFB"/>
                </a:clrFrom>
                <a:clrTo>
                  <a:srgbClr val="F8FAFB">
                    <a:alpha val="0"/>
                  </a:srgbClr>
                </a:clrTo>
              </a:clrChange>
            </a:blip>
            <a:stretch>
              <a:fillRect/>
            </a:stretch>
          </p:blipFill>
          <p:spPr>
            <a:xfrm>
              <a:off x="533267" y="5211256"/>
              <a:ext cx="940171" cy="748619"/>
            </a:xfrm>
            <a:prstGeom prst="rect">
              <a:avLst/>
            </a:prstGeom>
          </p:spPr>
        </p:pic>
      </p:grpSp>
      <p:grpSp>
        <p:nvGrpSpPr>
          <p:cNvPr id="34" name="Group 33">
            <a:extLst>
              <a:ext uri="{FF2B5EF4-FFF2-40B4-BE49-F238E27FC236}">
                <a16:creationId xmlns:a16="http://schemas.microsoft.com/office/drawing/2014/main" id="{D09BA906-B2A5-4837-AAA5-309E5B61F517}"/>
              </a:ext>
            </a:extLst>
          </p:cNvPr>
          <p:cNvGrpSpPr/>
          <p:nvPr/>
        </p:nvGrpSpPr>
        <p:grpSpPr>
          <a:xfrm>
            <a:off x="5814363" y="3696365"/>
            <a:ext cx="783771" cy="783771"/>
            <a:chOff x="619781" y="3728298"/>
            <a:chExt cx="783771" cy="783771"/>
          </a:xfrm>
        </p:grpSpPr>
        <p:sp>
          <p:nvSpPr>
            <p:cNvPr id="35" name="Oval 34">
              <a:extLst>
                <a:ext uri="{FF2B5EF4-FFF2-40B4-BE49-F238E27FC236}">
                  <a16:creationId xmlns:a16="http://schemas.microsoft.com/office/drawing/2014/main" id="{256FDFA1-94F1-415B-B418-EBC69EC8BB4E}"/>
                </a:ext>
              </a:extLst>
            </p:cNvPr>
            <p:cNvSpPr/>
            <p:nvPr/>
          </p:nvSpPr>
          <p:spPr>
            <a:xfrm>
              <a:off x="619781" y="3728298"/>
              <a:ext cx="783771" cy="783771"/>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6" name="Picture 35">
              <a:extLst>
                <a:ext uri="{FF2B5EF4-FFF2-40B4-BE49-F238E27FC236}">
                  <a16:creationId xmlns:a16="http://schemas.microsoft.com/office/drawing/2014/main" id="{1561DDD6-3F49-47A0-96B5-E590D55F9176}"/>
                </a:ext>
              </a:extLst>
            </p:cNvPr>
            <p:cNvPicPr>
              <a:picLocks noChangeAspect="1"/>
            </p:cNvPicPr>
            <p:nvPr/>
          </p:nvPicPr>
          <p:blipFill>
            <a:blip r:embed="rId5">
              <a:clrChange>
                <a:clrFrom>
                  <a:srgbClr val="F8FAFB"/>
                </a:clrFrom>
                <a:clrTo>
                  <a:srgbClr val="F8FAFB">
                    <a:alpha val="0"/>
                  </a:srgbClr>
                </a:clrTo>
              </a:clrChange>
            </a:blip>
            <a:stretch>
              <a:fillRect/>
            </a:stretch>
          </p:blipFill>
          <p:spPr>
            <a:xfrm>
              <a:off x="763654" y="3820818"/>
              <a:ext cx="555025" cy="566126"/>
            </a:xfrm>
            <a:prstGeom prst="rect">
              <a:avLst/>
            </a:prstGeom>
          </p:spPr>
        </p:pic>
      </p:grpSp>
      <p:sp>
        <p:nvSpPr>
          <p:cNvPr id="37" name="Rectangle 36">
            <a:extLst>
              <a:ext uri="{FF2B5EF4-FFF2-40B4-BE49-F238E27FC236}">
                <a16:creationId xmlns:a16="http://schemas.microsoft.com/office/drawing/2014/main" id="{B8BD667D-B506-4A1E-B278-63A66F2AFA2F}"/>
              </a:ext>
            </a:extLst>
          </p:cNvPr>
          <p:cNvSpPr/>
          <p:nvPr/>
        </p:nvSpPr>
        <p:spPr>
          <a:xfrm>
            <a:off x="6673726" y="3866339"/>
            <a:ext cx="3900139" cy="369332"/>
          </a:xfrm>
          <a:prstGeom prst="rect">
            <a:avLst/>
          </a:prstGeom>
        </p:spPr>
        <p:txBody>
          <a:bodyPr wrap="square">
            <a:spAutoFit/>
          </a:bodyPr>
          <a:lstStyle/>
          <a:p>
            <a:r>
              <a:rPr lang="en-US" b="1">
                <a:latin typeface="Book Antiqua" panose="02040602050305030304" pitchFamily="18" charset="0"/>
              </a:rPr>
              <a:t>Enhance customer experience</a:t>
            </a:r>
          </a:p>
        </p:txBody>
      </p:sp>
      <p:sp>
        <p:nvSpPr>
          <p:cNvPr id="38" name="Rectangle 37">
            <a:extLst>
              <a:ext uri="{FF2B5EF4-FFF2-40B4-BE49-F238E27FC236}">
                <a16:creationId xmlns:a16="http://schemas.microsoft.com/office/drawing/2014/main" id="{C9442C75-47DB-46CC-A2E5-D0C9CD72FEF9}"/>
              </a:ext>
            </a:extLst>
          </p:cNvPr>
          <p:cNvSpPr/>
          <p:nvPr/>
        </p:nvSpPr>
        <p:spPr>
          <a:xfrm>
            <a:off x="6731717" y="5551112"/>
            <a:ext cx="4314001" cy="369332"/>
          </a:xfrm>
          <a:prstGeom prst="rect">
            <a:avLst/>
          </a:prstGeom>
        </p:spPr>
        <p:txBody>
          <a:bodyPr wrap="none">
            <a:spAutoFit/>
          </a:bodyPr>
          <a:lstStyle/>
          <a:p>
            <a:r>
              <a:rPr lang="en-US" b="1">
                <a:latin typeface="Book Antiqua" panose="02040602050305030304" pitchFamily="18" charset="0"/>
              </a:rPr>
              <a:t>Improve consumer’s willingness to pay</a:t>
            </a:r>
          </a:p>
        </p:txBody>
      </p:sp>
      <p:sp>
        <p:nvSpPr>
          <p:cNvPr id="18" name="Rectangle: Rounded Corners 17">
            <a:extLst>
              <a:ext uri="{FF2B5EF4-FFF2-40B4-BE49-F238E27FC236}">
                <a16:creationId xmlns:a16="http://schemas.microsoft.com/office/drawing/2014/main" id="{CEB26634-995F-4EDB-8718-DC37F95A1E6D}"/>
              </a:ext>
            </a:extLst>
          </p:cNvPr>
          <p:cNvSpPr/>
          <p:nvPr/>
        </p:nvSpPr>
        <p:spPr>
          <a:xfrm>
            <a:off x="1119289" y="3535109"/>
            <a:ext cx="9859174" cy="2695737"/>
          </a:xfrm>
          <a:prstGeom prst="round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a:extLst>
              <a:ext uri="{FF2B5EF4-FFF2-40B4-BE49-F238E27FC236}">
                <a16:creationId xmlns:a16="http://schemas.microsoft.com/office/drawing/2014/main" id="{4FA17A84-8EFE-49BE-8ED8-B4D03805E207}"/>
              </a:ext>
            </a:extLst>
          </p:cNvPr>
          <p:cNvSpPr/>
          <p:nvPr/>
        </p:nvSpPr>
        <p:spPr>
          <a:xfrm>
            <a:off x="400050" y="6812280"/>
            <a:ext cx="11791579" cy="4572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a:t>
            </a:r>
          </a:p>
        </p:txBody>
      </p:sp>
      <p:pic>
        <p:nvPicPr>
          <p:cNvPr id="40" name="Graphic 39" descr="Toothpaste">
            <a:extLst>
              <a:ext uri="{FF2B5EF4-FFF2-40B4-BE49-F238E27FC236}">
                <a16:creationId xmlns:a16="http://schemas.microsoft.com/office/drawing/2014/main" id="{68553FFE-264A-4ECF-94B2-76054AB33EEC}"/>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6219692">
            <a:off x="-34366" y="6088478"/>
            <a:ext cx="598153" cy="598153"/>
          </a:xfrm>
          <a:prstGeom prst="rect">
            <a:avLst/>
          </a:prstGeom>
        </p:spPr>
      </p:pic>
      <p:pic>
        <p:nvPicPr>
          <p:cNvPr id="41" name="Graphic 40" descr="Snake">
            <a:extLst>
              <a:ext uri="{FF2B5EF4-FFF2-40B4-BE49-F238E27FC236}">
                <a16:creationId xmlns:a16="http://schemas.microsoft.com/office/drawing/2014/main" id="{7D2A0287-C73E-4168-9C45-8D6D5A2CA2DB}"/>
              </a:ext>
            </a:extLst>
          </p:cNvPr>
          <p:cNvPicPr>
            <a:picLocks noChangeAspect="1"/>
          </p:cNvPicPr>
          <p:nvPr/>
        </p:nvPicPr>
        <p:blipFill rotWithShape="1">
          <a:blip r:embed="rId8" cstate="hq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l="-2" t="56027" r="47111"/>
          <a:stretch/>
        </p:blipFill>
        <p:spPr>
          <a:xfrm rot="7001259">
            <a:off x="297005" y="6680310"/>
            <a:ext cx="336423" cy="279713"/>
          </a:xfrm>
          <a:prstGeom prst="rect">
            <a:avLst/>
          </a:prstGeom>
        </p:spPr>
      </p:pic>
    </p:spTree>
    <p:extLst>
      <p:ext uri="{BB962C8B-B14F-4D97-AF65-F5344CB8AC3E}">
        <p14:creationId xmlns:p14="http://schemas.microsoft.com/office/powerpoint/2010/main" val="41325865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500"/>
                                        <p:tgtEl>
                                          <p:spTgt spid="13"/>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500"/>
                                        <p:tgtEl>
                                          <p:spTgt spid="18"/>
                                        </p:tgtEl>
                                      </p:cBhvr>
                                    </p:animEffect>
                                  </p:childTnLst>
                                </p:cTn>
                              </p:par>
                              <p:par>
                                <p:cTn id="16" presetID="10" presetClass="entr" presetSubtype="0" fill="hold" nodeType="withEffect">
                                  <p:stCondLst>
                                    <p:cond delay="0"/>
                                  </p:stCondLst>
                                  <p:childTnLst>
                                    <p:set>
                                      <p:cBhvr>
                                        <p:cTn id="17" dur="1" fill="hold">
                                          <p:stCondLst>
                                            <p:cond delay="0"/>
                                          </p:stCondLst>
                                        </p:cTn>
                                        <p:tgtEl>
                                          <p:spTgt spid="30"/>
                                        </p:tgtEl>
                                        <p:attrNameLst>
                                          <p:attrName>style.visibility</p:attrName>
                                        </p:attrNameLst>
                                      </p:cBhvr>
                                      <p:to>
                                        <p:strVal val="visible"/>
                                      </p:to>
                                    </p:set>
                                    <p:animEffect transition="in" filter="fade">
                                      <p:cBhvr>
                                        <p:cTn id="18" dur="500"/>
                                        <p:tgtEl>
                                          <p:spTgt spid="30"/>
                                        </p:tgtEl>
                                      </p:cBhvr>
                                    </p:animEffect>
                                  </p:childTnLst>
                                </p:cTn>
                              </p:par>
                              <p:par>
                                <p:cTn id="19" presetID="10" presetClass="entr" presetSubtype="0" fill="hold" nodeType="withEffect">
                                  <p:stCondLst>
                                    <p:cond delay="0"/>
                                  </p:stCondLst>
                                  <p:childTnLst>
                                    <p:set>
                                      <p:cBhvr>
                                        <p:cTn id="20" dur="1" fill="hold">
                                          <p:stCondLst>
                                            <p:cond delay="0"/>
                                          </p:stCondLst>
                                        </p:cTn>
                                        <p:tgtEl>
                                          <p:spTgt spid="34"/>
                                        </p:tgtEl>
                                        <p:attrNameLst>
                                          <p:attrName>style.visibility</p:attrName>
                                        </p:attrNameLst>
                                      </p:cBhvr>
                                      <p:to>
                                        <p:strVal val="visible"/>
                                      </p:to>
                                    </p:set>
                                    <p:animEffect transition="in" filter="fade">
                                      <p:cBhvr>
                                        <p:cTn id="21" dur="500"/>
                                        <p:tgtEl>
                                          <p:spTgt spid="34"/>
                                        </p:tgtEl>
                                      </p:cBhvr>
                                    </p:animEffect>
                                  </p:childTnLst>
                                </p:cTn>
                              </p:par>
                              <p:par>
                                <p:cTn id="22" presetID="10" presetClass="entr" presetSubtype="0" fill="hold" nodeType="withEffect">
                                  <p:stCondLst>
                                    <p:cond delay="0"/>
                                  </p:stCondLst>
                                  <p:childTnLst>
                                    <p:set>
                                      <p:cBhvr>
                                        <p:cTn id="23" dur="1" fill="hold">
                                          <p:stCondLst>
                                            <p:cond delay="0"/>
                                          </p:stCondLst>
                                        </p:cTn>
                                        <p:tgtEl>
                                          <p:spTgt spid="31"/>
                                        </p:tgtEl>
                                        <p:attrNameLst>
                                          <p:attrName>style.visibility</p:attrName>
                                        </p:attrNameLst>
                                      </p:cBhvr>
                                      <p:to>
                                        <p:strVal val="visible"/>
                                      </p:to>
                                    </p:set>
                                    <p:animEffect transition="in" filter="fade">
                                      <p:cBhvr>
                                        <p:cTn id="24" dur="500"/>
                                        <p:tgtEl>
                                          <p:spTgt spid="31"/>
                                        </p:tgtEl>
                                      </p:cBhvr>
                                    </p:animEffect>
                                  </p:childTnLst>
                                </p:cTn>
                              </p:par>
                              <p:par>
                                <p:cTn id="25" presetID="10" presetClass="entr" presetSubtype="0" fill="hold" nodeType="withEffect">
                                  <p:stCondLst>
                                    <p:cond delay="0"/>
                                  </p:stCondLst>
                                  <p:childTnLst>
                                    <p:set>
                                      <p:cBhvr>
                                        <p:cTn id="26" dur="1" fill="hold">
                                          <p:stCondLst>
                                            <p:cond delay="0"/>
                                          </p:stCondLst>
                                        </p:cTn>
                                        <p:tgtEl>
                                          <p:spTgt spid="29"/>
                                        </p:tgtEl>
                                        <p:attrNameLst>
                                          <p:attrName>style.visibility</p:attrName>
                                        </p:attrNameLst>
                                      </p:cBhvr>
                                      <p:to>
                                        <p:strVal val="visible"/>
                                      </p:to>
                                    </p:set>
                                    <p:animEffect transition="in" filter="fade">
                                      <p:cBhvr>
                                        <p:cTn id="27" dur="500"/>
                                        <p:tgtEl>
                                          <p:spTgt spid="29"/>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7"/>
                                        </p:tgtEl>
                                        <p:attrNameLst>
                                          <p:attrName>style.visibility</p:attrName>
                                        </p:attrNameLst>
                                      </p:cBhvr>
                                      <p:to>
                                        <p:strVal val="visible"/>
                                      </p:to>
                                    </p:set>
                                    <p:animEffect transition="in" filter="fade">
                                      <p:cBhvr>
                                        <p:cTn id="30" dur="500"/>
                                        <p:tgtEl>
                                          <p:spTgt spid="17"/>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25"/>
                                        </p:tgtEl>
                                        <p:attrNameLst>
                                          <p:attrName>style.visibility</p:attrName>
                                        </p:attrNameLst>
                                      </p:cBhvr>
                                      <p:to>
                                        <p:strVal val="visible"/>
                                      </p:to>
                                    </p:set>
                                    <p:animEffect transition="in" filter="fade">
                                      <p:cBhvr>
                                        <p:cTn id="33" dur="500"/>
                                        <p:tgtEl>
                                          <p:spTgt spid="25"/>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37"/>
                                        </p:tgtEl>
                                        <p:attrNameLst>
                                          <p:attrName>style.visibility</p:attrName>
                                        </p:attrNameLst>
                                      </p:cBhvr>
                                      <p:to>
                                        <p:strVal val="visible"/>
                                      </p:to>
                                    </p:set>
                                    <p:animEffect transition="in" filter="fade">
                                      <p:cBhvr>
                                        <p:cTn id="36" dur="500"/>
                                        <p:tgtEl>
                                          <p:spTgt spid="37"/>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38"/>
                                        </p:tgtEl>
                                        <p:attrNameLst>
                                          <p:attrName>style.visibility</p:attrName>
                                        </p:attrNameLst>
                                      </p:cBhvr>
                                      <p:to>
                                        <p:strVal val="visible"/>
                                      </p:to>
                                    </p:set>
                                    <p:animEffect transition="in" filter="fade">
                                      <p:cBhvr>
                                        <p:cTn id="39"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25" grpId="0"/>
      <p:bldP spid="37" grpId="0"/>
      <p:bldP spid="38" grpId="0"/>
      <p:bldP spid="18"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23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jOY8uFGEkw4_EwV0IPxjK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jOY8uFGEkw4_EwV0IPxjK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jOY8uFGEkw4_EwV0IPxjK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jOY8uFGEkw4_EwV0IPxjK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eKDYax16qA_eeW8NvvpvC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jOY8uFGEkw4_EwV0IPxjK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AE6F2518-B084-4896-AF52-66CC2144AA2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6A035879928E3F42B850FDA28F6E4DC8" ma:contentTypeVersion="11" ma:contentTypeDescription="Create a new document." ma:contentTypeScope="" ma:versionID="9d58935c3e9e25c4212fb0d263fe793d">
  <xsd:schema xmlns:xsd="http://www.w3.org/2001/XMLSchema" xmlns:xs="http://www.w3.org/2001/XMLSchema" xmlns:p="http://schemas.microsoft.com/office/2006/metadata/properties" xmlns:ns3="4d27b035-6cfa-4db8-9a66-d7f42c435b6d" xmlns:ns4="f7e26528-1891-49af-819e-ef947c72c3e2" targetNamespace="http://schemas.microsoft.com/office/2006/metadata/properties" ma:root="true" ma:fieldsID="e62a09851eff1ceb892bfa63d7dce07b" ns3:_="" ns4:_="">
    <xsd:import namespace="4d27b035-6cfa-4db8-9a66-d7f42c435b6d"/>
    <xsd:import namespace="f7e26528-1891-49af-819e-ef947c72c3e2"/>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OCR"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d27b035-6cfa-4db8-9a66-d7f42c435b6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7e26528-1891-49af-819e-ef947c72c3e2"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A0D6A4D-7BDF-464B-A213-0F540637AA55}">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7BAD54C8-AF60-414A-BD30-ACB543CE338C}">
  <ds:schemaRefs>
    <ds:schemaRef ds:uri="http://schemas.microsoft.com/sharepoint/v3/contenttype/forms"/>
  </ds:schemaRefs>
</ds:datastoreItem>
</file>

<file path=customXml/itemProps3.xml><?xml version="1.0" encoding="utf-8"?>
<ds:datastoreItem xmlns:ds="http://schemas.openxmlformats.org/officeDocument/2006/customXml" ds:itemID="{B7FF1557-D121-4F0D-9FD4-100F48388B4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d27b035-6cfa-4db8-9a66-d7f42c435b6d"/>
    <ds:schemaRef ds:uri="f7e26528-1891-49af-819e-ef947c72c3e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239</TotalTime>
  <Words>808</Words>
  <Application>Microsoft Office PowerPoint</Application>
  <PresentationFormat>Widescreen</PresentationFormat>
  <Paragraphs>198</Paragraphs>
  <Slides>24</Slides>
  <Notes>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4</vt:i4>
      </vt:variant>
    </vt:vector>
  </HeadingPairs>
  <TitlesOfParts>
    <vt:vector size="32" baseType="lpstr">
      <vt:lpstr>Arial</vt:lpstr>
      <vt:lpstr>Book Antiqua</vt:lpstr>
      <vt:lpstr>Calibri</vt:lpstr>
      <vt:lpstr>Calibri Light</vt:lpstr>
      <vt:lpstr>Cambria Math</vt:lpstr>
      <vt:lpstr>Georgia</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u, Xuanming</dc:creator>
  <cp:lastModifiedBy>Siddharth Harisankar</cp:lastModifiedBy>
  <cp:revision>13</cp:revision>
  <dcterms:created xsi:type="dcterms:W3CDTF">2020-03-05T20:40:35Z</dcterms:created>
  <dcterms:modified xsi:type="dcterms:W3CDTF">2020-03-11T20:44:15Z</dcterms:modified>
</cp:coreProperties>
</file>